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6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B5C7"/>
    <a:srgbClr val="3577E8"/>
    <a:srgbClr val="44A8CD"/>
    <a:srgbClr val="4FD9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F57A81-1082-4D83-80EF-27C7D77E9004}" v="13" dt="2025-05-27T13:14:20.2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7" d="100"/>
          <a:sy n="77" d="100"/>
        </p:scale>
        <p:origin x="883" y="82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C910D5-75B4-48E3-9861-2B140C1DB1B1}" type="datetimeFigureOut">
              <a:rPr lang="en-GB" smtClean="0"/>
              <a:t>27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8CEC81-BBE6-47A3-8BFA-3F04B7A540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538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8CEC81-BBE6-47A3-8BFA-3F04B7A54076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956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1AA8BCD-CDCA-0041-CFC9-BBD195B7E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87438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7772400" imgH="10058400" progId="TCLayout.ActiveDocument.1">
                  <p:embed/>
                </p:oleObj>
              </mc:Choice>
              <mc:Fallback>
                <p:oleObj name="Diapositiva de think-cell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A8BCD-CDCA-0041-CFC9-BBD195B7E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hdphoto" Target="../media/hdphoto2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11" Type="http://schemas.openxmlformats.org/officeDocument/2006/relationships/image" Target="../media/image7.png"/><Relationship Id="rId5" Type="http://schemas.openxmlformats.org/officeDocument/2006/relationships/image" Target="../media/image2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2.bin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FD9B6">
            <a:alpha val="20027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804ACE1-A9F1-BFFB-624F-30765C2587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D53FAB17-DA5B-D119-FC0A-28FA5FD494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3FAB17-DA5B-D119-FC0A-28FA5FD49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F5B09E49-33D8-A094-8E73-2E6E2397C5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F518FDC2-B346-CC99-C4FE-906B56CDD14B}"/>
              </a:ext>
            </a:extLst>
          </p:cNvPr>
          <p:cNvGrpSpPr/>
          <p:nvPr/>
        </p:nvGrpSpPr>
        <p:grpSpPr>
          <a:xfrm>
            <a:off x="4759480" y="1502077"/>
            <a:ext cx="2728922" cy="1684428"/>
            <a:chOff x="3813513" y="1862312"/>
            <a:chExt cx="4561925" cy="2664516"/>
          </a:xfrm>
        </p:grpSpPr>
        <p:pic>
          <p:nvPicPr>
            <p:cNvPr id="5" name="Picture 4" descr="A logo with a drop of water and a gear&#10;&#10;Description automatically generated">
              <a:extLst>
                <a:ext uri="{FF2B5EF4-FFF2-40B4-BE49-F238E27FC236}">
                  <a16:creationId xmlns:a16="http://schemas.microsoft.com/office/drawing/2014/main" id="{05587872-D640-7B8B-1851-6639EBA4C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5784" r="1" b="32252"/>
            <a:stretch/>
          </p:blipFill>
          <p:spPr>
            <a:xfrm>
              <a:off x="3813513" y="1862312"/>
              <a:ext cx="4561925" cy="2664516"/>
            </a:xfrm>
            <a:custGeom>
              <a:avLst/>
              <a:gdLst/>
              <a:ahLst/>
              <a:cxnLst/>
              <a:rect l="l" t="t" r="r" b="b"/>
              <a:pathLst>
                <a:path w="11862683" h="6858000">
                  <a:moveTo>
                    <a:pt x="0" y="0"/>
                  </a:moveTo>
                  <a:lnTo>
                    <a:pt x="4038600" y="0"/>
                  </a:lnTo>
                  <a:lnTo>
                    <a:pt x="4114800" y="0"/>
                  </a:lnTo>
                  <a:lnTo>
                    <a:pt x="4282294" y="0"/>
                  </a:lnTo>
                  <a:lnTo>
                    <a:pt x="6139260" y="0"/>
                  </a:lnTo>
                  <a:lnTo>
                    <a:pt x="6362810" y="0"/>
                  </a:lnTo>
                  <a:lnTo>
                    <a:pt x="7272221" y="0"/>
                  </a:lnTo>
                  <a:lnTo>
                    <a:pt x="10815342" y="0"/>
                  </a:lnTo>
                  <a:cubicBezTo>
                    <a:pt x="10709672" y="35571"/>
                    <a:pt x="10607020" y="78255"/>
                    <a:pt x="10501350" y="110269"/>
                  </a:cubicBezTo>
                  <a:cubicBezTo>
                    <a:pt x="10516447" y="145839"/>
                    <a:pt x="10531542" y="138725"/>
                    <a:pt x="10546639" y="135168"/>
                  </a:cubicBezTo>
                  <a:cubicBezTo>
                    <a:pt x="10637212" y="120941"/>
                    <a:pt x="10730806" y="110269"/>
                    <a:pt x="10818360" y="71141"/>
                  </a:cubicBezTo>
                  <a:cubicBezTo>
                    <a:pt x="10839496" y="64027"/>
                    <a:pt x="10863648" y="64027"/>
                    <a:pt x="10872705" y="88927"/>
                  </a:cubicBezTo>
                  <a:cubicBezTo>
                    <a:pt x="10887801" y="124497"/>
                    <a:pt x="10866668" y="145839"/>
                    <a:pt x="10845532" y="163625"/>
                  </a:cubicBezTo>
                  <a:cubicBezTo>
                    <a:pt x="10809304" y="195638"/>
                    <a:pt x="10767036" y="188525"/>
                    <a:pt x="10727787" y="192082"/>
                  </a:cubicBezTo>
                  <a:cubicBezTo>
                    <a:pt x="10619098" y="209867"/>
                    <a:pt x="10567772" y="259665"/>
                    <a:pt x="10543619" y="373491"/>
                  </a:cubicBezTo>
                  <a:cubicBezTo>
                    <a:pt x="10637212" y="327250"/>
                    <a:pt x="10730806" y="384162"/>
                    <a:pt x="10821380" y="352148"/>
                  </a:cubicBezTo>
                  <a:cubicBezTo>
                    <a:pt x="10845532" y="345034"/>
                    <a:pt x="10881763" y="355706"/>
                    <a:pt x="10869686" y="394834"/>
                  </a:cubicBezTo>
                  <a:cubicBezTo>
                    <a:pt x="10857610" y="430405"/>
                    <a:pt x="10818360" y="458860"/>
                    <a:pt x="10887801" y="451747"/>
                  </a:cubicBezTo>
                  <a:cubicBezTo>
                    <a:pt x="10939127" y="448189"/>
                    <a:pt x="10954222" y="405504"/>
                    <a:pt x="10969318" y="359262"/>
                  </a:cubicBezTo>
                  <a:cubicBezTo>
                    <a:pt x="10981394" y="334364"/>
                    <a:pt x="11014605" y="320135"/>
                    <a:pt x="11038758" y="334364"/>
                  </a:cubicBezTo>
                  <a:cubicBezTo>
                    <a:pt x="11068949" y="348592"/>
                    <a:pt x="11059892" y="387720"/>
                    <a:pt x="11059892" y="416176"/>
                  </a:cubicBezTo>
                  <a:cubicBezTo>
                    <a:pt x="11062912" y="469532"/>
                    <a:pt x="11038758" y="494431"/>
                    <a:pt x="10996491" y="505101"/>
                  </a:cubicBezTo>
                  <a:cubicBezTo>
                    <a:pt x="10945164" y="519330"/>
                    <a:pt x="10893840" y="537116"/>
                    <a:pt x="10827418" y="558458"/>
                  </a:cubicBezTo>
                  <a:cubicBezTo>
                    <a:pt x="10899878" y="594028"/>
                    <a:pt x="10954222" y="586915"/>
                    <a:pt x="11008566" y="558458"/>
                  </a:cubicBezTo>
                  <a:cubicBezTo>
                    <a:pt x="11074988" y="526444"/>
                    <a:pt x="11162542" y="483759"/>
                    <a:pt x="11216886" y="522887"/>
                  </a:cubicBezTo>
                  <a:cubicBezTo>
                    <a:pt x="11298403" y="579800"/>
                    <a:pt x="11364824" y="544229"/>
                    <a:pt x="11437284" y="533558"/>
                  </a:cubicBezTo>
                  <a:cubicBezTo>
                    <a:pt x="11588242" y="512216"/>
                    <a:pt x="11494648" y="480203"/>
                    <a:pt x="11645605" y="462417"/>
                  </a:cubicBezTo>
                  <a:cubicBezTo>
                    <a:pt x="11705988" y="455303"/>
                    <a:pt x="11769390" y="426847"/>
                    <a:pt x="11856944" y="465975"/>
                  </a:cubicBezTo>
                  <a:cubicBezTo>
                    <a:pt x="11461437" y="672284"/>
                    <a:pt x="11274250" y="658055"/>
                    <a:pt x="10921012" y="910606"/>
                  </a:cubicBezTo>
                  <a:cubicBezTo>
                    <a:pt x="10936107" y="935506"/>
                    <a:pt x="10951202" y="924835"/>
                    <a:pt x="10966299" y="921277"/>
                  </a:cubicBezTo>
                  <a:cubicBezTo>
                    <a:pt x="10990452" y="917720"/>
                    <a:pt x="11020644" y="903491"/>
                    <a:pt x="11026682" y="949734"/>
                  </a:cubicBezTo>
                  <a:cubicBezTo>
                    <a:pt x="11029702" y="985305"/>
                    <a:pt x="11011585" y="1003089"/>
                    <a:pt x="10981394" y="1006647"/>
                  </a:cubicBezTo>
                  <a:cubicBezTo>
                    <a:pt x="10893840" y="1020875"/>
                    <a:pt x="10815342" y="1070674"/>
                    <a:pt x="10736844" y="1113358"/>
                  </a:cubicBezTo>
                  <a:cubicBezTo>
                    <a:pt x="10700615" y="1131144"/>
                    <a:pt x="10661366" y="1156043"/>
                    <a:pt x="10676462" y="1220069"/>
                  </a:cubicBezTo>
                  <a:cubicBezTo>
                    <a:pt x="10706652" y="1237855"/>
                    <a:pt x="10727787" y="1212955"/>
                    <a:pt x="10751940" y="1209399"/>
                  </a:cubicBezTo>
                  <a:cubicBezTo>
                    <a:pt x="10776093" y="1205842"/>
                    <a:pt x="10833457" y="1220069"/>
                    <a:pt x="10818360" y="1230741"/>
                  </a:cubicBezTo>
                  <a:cubicBezTo>
                    <a:pt x="10748920" y="1269868"/>
                    <a:pt x="10875724" y="1365909"/>
                    <a:pt x="10791190" y="1365909"/>
                  </a:cubicBezTo>
                  <a:cubicBezTo>
                    <a:pt x="10652309" y="1365909"/>
                    <a:pt x="10576830" y="1536647"/>
                    <a:pt x="10443988" y="1540204"/>
                  </a:cubicBezTo>
                  <a:cubicBezTo>
                    <a:pt x="10422854" y="1540204"/>
                    <a:pt x="10413797" y="1572219"/>
                    <a:pt x="10413797" y="1597117"/>
                  </a:cubicBezTo>
                  <a:cubicBezTo>
                    <a:pt x="10413797" y="1629132"/>
                    <a:pt x="10434930" y="1632688"/>
                    <a:pt x="10456064" y="1636245"/>
                  </a:cubicBezTo>
                  <a:cubicBezTo>
                    <a:pt x="10489275" y="1639802"/>
                    <a:pt x="10525504" y="1597117"/>
                    <a:pt x="10567772" y="1657587"/>
                  </a:cubicBezTo>
                  <a:cubicBezTo>
                    <a:pt x="10489275" y="1693158"/>
                    <a:pt x="10407758" y="1728729"/>
                    <a:pt x="10410777" y="1849668"/>
                  </a:cubicBezTo>
                  <a:cubicBezTo>
                    <a:pt x="10410777" y="1881683"/>
                    <a:pt x="10377566" y="1895910"/>
                    <a:pt x="10353413" y="1903025"/>
                  </a:cubicBezTo>
                  <a:cubicBezTo>
                    <a:pt x="10311146" y="1917252"/>
                    <a:pt x="10277935" y="1938595"/>
                    <a:pt x="10253782" y="1984836"/>
                  </a:cubicBezTo>
                  <a:cubicBezTo>
                    <a:pt x="10253782" y="1995507"/>
                    <a:pt x="10253782" y="2002622"/>
                    <a:pt x="10253782" y="2013292"/>
                  </a:cubicBezTo>
                  <a:cubicBezTo>
                    <a:pt x="10259820" y="2123562"/>
                    <a:pt x="10320202" y="2120004"/>
                    <a:pt x="10386624" y="2102219"/>
                  </a:cubicBezTo>
                  <a:cubicBezTo>
                    <a:pt x="10465122" y="2080877"/>
                    <a:pt x="10543619" y="2038192"/>
                    <a:pt x="10628156" y="2077320"/>
                  </a:cubicBezTo>
                  <a:cubicBezTo>
                    <a:pt x="10510408" y="2130676"/>
                    <a:pt x="10380586" y="2134233"/>
                    <a:pt x="10271896" y="2208931"/>
                  </a:cubicBezTo>
                  <a:cubicBezTo>
                    <a:pt x="10676462" y="2223159"/>
                    <a:pt x="11032720" y="1984836"/>
                    <a:pt x="11425208" y="1892353"/>
                  </a:cubicBezTo>
                  <a:cubicBezTo>
                    <a:pt x="11413131" y="1952823"/>
                    <a:pt x="11379920" y="1967051"/>
                    <a:pt x="11352748" y="1974165"/>
                  </a:cubicBezTo>
                  <a:cubicBezTo>
                    <a:pt x="11207830" y="2020407"/>
                    <a:pt x="11081026" y="2112891"/>
                    <a:pt x="10948184" y="2191146"/>
                  </a:cubicBezTo>
                  <a:cubicBezTo>
                    <a:pt x="10893840" y="2223159"/>
                    <a:pt x="10854590" y="2258731"/>
                    <a:pt x="10833457" y="2326314"/>
                  </a:cubicBezTo>
                  <a:cubicBezTo>
                    <a:pt x="10815342" y="2390340"/>
                    <a:pt x="10779112" y="2418796"/>
                    <a:pt x="10712690" y="2401012"/>
                  </a:cubicBezTo>
                  <a:cubicBezTo>
                    <a:pt x="10658346" y="2386784"/>
                    <a:pt x="10600982" y="2393898"/>
                    <a:pt x="10543619" y="2401012"/>
                  </a:cubicBezTo>
                  <a:cubicBezTo>
                    <a:pt x="10480218" y="2408126"/>
                    <a:pt x="10407758" y="2479267"/>
                    <a:pt x="10422854" y="2518395"/>
                  </a:cubicBezTo>
                  <a:cubicBezTo>
                    <a:pt x="10453044" y="2582422"/>
                    <a:pt x="10504370" y="2550408"/>
                    <a:pt x="10546639" y="2543294"/>
                  </a:cubicBezTo>
                  <a:cubicBezTo>
                    <a:pt x="10597964" y="2536181"/>
                    <a:pt x="10691556" y="2518395"/>
                    <a:pt x="10691556" y="2525509"/>
                  </a:cubicBezTo>
                  <a:cubicBezTo>
                    <a:pt x="10724768" y="2685576"/>
                    <a:pt x="10800246" y="2564636"/>
                    <a:pt x="10854590" y="2564636"/>
                  </a:cubicBezTo>
                  <a:cubicBezTo>
                    <a:pt x="10905916" y="2564636"/>
                    <a:pt x="10957241" y="2546851"/>
                    <a:pt x="11005548" y="2532623"/>
                  </a:cubicBezTo>
                  <a:cubicBezTo>
                    <a:pt x="11068949" y="2514837"/>
                    <a:pt x="11126312" y="2546851"/>
                    <a:pt x="11186696" y="2553965"/>
                  </a:cubicBezTo>
                  <a:cubicBezTo>
                    <a:pt x="11241040" y="2561080"/>
                    <a:pt x="11210850" y="2653563"/>
                    <a:pt x="11244060" y="2692689"/>
                  </a:cubicBezTo>
                  <a:cubicBezTo>
                    <a:pt x="11250097" y="2703362"/>
                    <a:pt x="11256136" y="2703362"/>
                    <a:pt x="11262174" y="2703362"/>
                  </a:cubicBezTo>
                  <a:cubicBezTo>
                    <a:pt x="11280289" y="2980812"/>
                    <a:pt x="11597299" y="2913227"/>
                    <a:pt x="11597299" y="2923898"/>
                  </a:cubicBezTo>
                  <a:cubicBezTo>
                    <a:pt x="11624471" y="2941684"/>
                    <a:pt x="11657682" y="2899000"/>
                    <a:pt x="11690892" y="2941684"/>
                  </a:cubicBezTo>
                  <a:cubicBezTo>
                    <a:pt x="11548993" y="3137322"/>
                    <a:pt x="11331614" y="3183563"/>
                    <a:pt x="11138390" y="3329402"/>
                  </a:cubicBezTo>
                  <a:cubicBezTo>
                    <a:pt x="11298403" y="3379202"/>
                    <a:pt x="11391998" y="3208463"/>
                    <a:pt x="11509744" y="3229805"/>
                  </a:cubicBezTo>
                  <a:cubicBezTo>
                    <a:pt x="11567107" y="3283162"/>
                    <a:pt x="11395016" y="3368530"/>
                    <a:pt x="11561068" y="3393429"/>
                  </a:cubicBezTo>
                  <a:cubicBezTo>
                    <a:pt x="11488610" y="3439672"/>
                    <a:pt x="11437284" y="3485914"/>
                    <a:pt x="11385959" y="3539269"/>
                  </a:cubicBezTo>
                  <a:cubicBezTo>
                    <a:pt x="11298403" y="3635309"/>
                    <a:pt x="11280289" y="3699337"/>
                    <a:pt x="11322556" y="3827390"/>
                  </a:cubicBezTo>
                  <a:cubicBezTo>
                    <a:pt x="11349730" y="3912759"/>
                    <a:pt x="11388978" y="3991015"/>
                    <a:pt x="11352748" y="4090612"/>
                  </a:cubicBezTo>
                  <a:cubicBezTo>
                    <a:pt x="11328595" y="4158196"/>
                    <a:pt x="11337653" y="4204438"/>
                    <a:pt x="11428226" y="4172424"/>
                  </a:cubicBezTo>
                  <a:cubicBezTo>
                    <a:pt x="11524840" y="4140411"/>
                    <a:pt x="11561068" y="4200882"/>
                    <a:pt x="11536915" y="4321821"/>
                  </a:cubicBezTo>
                  <a:cubicBezTo>
                    <a:pt x="11521821" y="4400076"/>
                    <a:pt x="11536915" y="4424975"/>
                    <a:pt x="11603338" y="4414305"/>
                  </a:cubicBezTo>
                  <a:cubicBezTo>
                    <a:pt x="11675796" y="4403633"/>
                    <a:pt x="11745236" y="4353835"/>
                    <a:pt x="11835811" y="4378734"/>
                  </a:cubicBezTo>
                  <a:cubicBezTo>
                    <a:pt x="11763352" y="4521016"/>
                    <a:pt x="11609374" y="4478331"/>
                    <a:pt x="11524840" y="4613499"/>
                  </a:cubicBezTo>
                  <a:cubicBezTo>
                    <a:pt x="11624471" y="4613499"/>
                    <a:pt x="11702969" y="4613499"/>
                    <a:pt x="11775427" y="4585042"/>
                  </a:cubicBezTo>
                  <a:cubicBezTo>
                    <a:pt x="11805619" y="4574373"/>
                    <a:pt x="11838830" y="4560144"/>
                    <a:pt x="11856944" y="4602828"/>
                  </a:cubicBezTo>
                  <a:cubicBezTo>
                    <a:pt x="11878080" y="4652628"/>
                    <a:pt x="11835811" y="4670412"/>
                    <a:pt x="11811658" y="4677526"/>
                  </a:cubicBezTo>
                  <a:cubicBezTo>
                    <a:pt x="11742216" y="4702425"/>
                    <a:pt x="11687874" y="4759339"/>
                    <a:pt x="11627490" y="4805580"/>
                  </a:cubicBezTo>
                  <a:cubicBezTo>
                    <a:pt x="11497668" y="4905177"/>
                    <a:pt x="11355767" y="4990547"/>
                    <a:pt x="11247078" y="5154171"/>
                  </a:cubicBezTo>
                  <a:cubicBezTo>
                    <a:pt x="11382940" y="5111487"/>
                    <a:pt x="11485590" y="5011889"/>
                    <a:pt x="11615414" y="4994104"/>
                  </a:cubicBezTo>
                  <a:cubicBezTo>
                    <a:pt x="11503704" y="5143500"/>
                    <a:pt x="11361806" y="5243097"/>
                    <a:pt x="11228964" y="5353367"/>
                  </a:cubicBezTo>
                  <a:cubicBezTo>
                    <a:pt x="11189714" y="5385379"/>
                    <a:pt x="11150466" y="5406721"/>
                    <a:pt x="11144428" y="5474306"/>
                  </a:cubicBezTo>
                  <a:cubicBezTo>
                    <a:pt x="11126312" y="5605917"/>
                    <a:pt x="11078008" y="5712629"/>
                    <a:pt x="10969318" y="5769542"/>
                  </a:cubicBezTo>
                  <a:cubicBezTo>
                    <a:pt x="10969318" y="5769542"/>
                    <a:pt x="10975356" y="5790884"/>
                    <a:pt x="10978374" y="5801555"/>
                  </a:cubicBezTo>
                  <a:cubicBezTo>
                    <a:pt x="11044797" y="5805112"/>
                    <a:pt x="11096122" y="5726858"/>
                    <a:pt x="11177639" y="5755314"/>
                  </a:cubicBezTo>
                  <a:cubicBezTo>
                    <a:pt x="11096122" y="5862025"/>
                    <a:pt x="11029702" y="5954508"/>
                    <a:pt x="10917992" y="6004307"/>
                  </a:cubicBezTo>
                  <a:cubicBezTo>
                    <a:pt x="10827418" y="6043434"/>
                    <a:pt x="10715710" y="6068335"/>
                    <a:pt x="10649289" y="6196388"/>
                  </a:cubicBezTo>
                  <a:cubicBezTo>
                    <a:pt x="10724768" y="6221287"/>
                    <a:pt x="10782132" y="6189274"/>
                    <a:pt x="10839496" y="6167932"/>
                  </a:cubicBezTo>
                  <a:cubicBezTo>
                    <a:pt x="10927050" y="6132361"/>
                    <a:pt x="11014605" y="6093234"/>
                    <a:pt x="11102160" y="6057663"/>
                  </a:cubicBezTo>
                  <a:cubicBezTo>
                    <a:pt x="11135372" y="6043434"/>
                    <a:pt x="11171600" y="6036320"/>
                    <a:pt x="11192734" y="6100347"/>
                  </a:cubicBezTo>
                  <a:cubicBezTo>
                    <a:pt x="11081026" y="6114575"/>
                    <a:pt x="11014605" y="6199945"/>
                    <a:pt x="10945164" y="6281757"/>
                  </a:cubicBezTo>
                  <a:cubicBezTo>
                    <a:pt x="10905916" y="6327999"/>
                    <a:pt x="10872705" y="6388469"/>
                    <a:pt x="10803265" y="6367127"/>
                  </a:cubicBezTo>
                  <a:cubicBezTo>
                    <a:pt x="10767036" y="6356456"/>
                    <a:pt x="10742882" y="6388469"/>
                    <a:pt x="10745901" y="6431153"/>
                  </a:cubicBezTo>
                  <a:cubicBezTo>
                    <a:pt x="10760998" y="6580550"/>
                    <a:pt x="10673442" y="6630349"/>
                    <a:pt x="10582868" y="6658805"/>
                  </a:cubicBezTo>
                  <a:cubicBezTo>
                    <a:pt x="10450026" y="6701489"/>
                    <a:pt x="10332280" y="6786859"/>
                    <a:pt x="10208496" y="6858000"/>
                  </a:cubicBezTo>
                  <a:lnTo>
                    <a:pt x="7272221" y="6858000"/>
                  </a:lnTo>
                  <a:lnTo>
                    <a:pt x="6362810" y="6858000"/>
                  </a:lnTo>
                  <a:lnTo>
                    <a:pt x="6139260" y="6858000"/>
                  </a:lnTo>
                  <a:lnTo>
                    <a:pt x="4282294" y="6858000"/>
                  </a:lnTo>
                  <a:lnTo>
                    <a:pt x="4114800" y="6858000"/>
                  </a:lnTo>
                  <a:lnTo>
                    <a:pt x="4038600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  <p:pic>
          <p:nvPicPr>
            <p:cNvPr id="7" name="Picture 6" descr="A logo with a drop of water and a gear&#10;&#10;Description automatically generated">
              <a:extLst>
                <a:ext uri="{FF2B5EF4-FFF2-40B4-BE49-F238E27FC236}">
                  <a16:creationId xmlns:a16="http://schemas.microsoft.com/office/drawing/2014/main" id="{31E06B66-0535-DA7A-FB24-1C967153C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686"/>
            <a:stretch/>
          </p:blipFill>
          <p:spPr>
            <a:xfrm>
              <a:off x="5545181" y="3105942"/>
              <a:ext cx="1026868" cy="264345"/>
            </a:xfrm>
            <a:prstGeom prst="rect">
              <a:avLst/>
            </a:prstGeom>
          </p:spPr>
        </p:pic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id="{E2A05921-8F14-C8D0-0165-71BC3F78F4D8}"/>
              </a:ext>
            </a:extLst>
          </p:cNvPr>
          <p:cNvSpPr/>
          <p:nvPr/>
        </p:nvSpPr>
        <p:spPr>
          <a:xfrm>
            <a:off x="289828" y="145724"/>
            <a:ext cx="11670020" cy="386744"/>
          </a:xfrm>
          <a:prstGeom prst="rect">
            <a:avLst/>
          </a:prstGeom>
          <a:solidFill>
            <a:srgbClr val="3577E8">
              <a:alpha val="8341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BWB: Semester 2 2024-25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7054F62B-6AC8-DE2F-9AF4-0E7F48F0CC8A}"/>
              </a:ext>
            </a:extLst>
          </p:cNvPr>
          <p:cNvSpPr/>
          <p:nvPr/>
        </p:nvSpPr>
        <p:spPr>
          <a:xfrm>
            <a:off x="289828" y="519115"/>
            <a:ext cx="4315628" cy="366813"/>
          </a:xfrm>
          <a:prstGeom prst="rect">
            <a:avLst/>
          </a:prstGeom>
          <a:solidFill>
            <a:srgbClr val="48B5C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Hardware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E96A407-B654-76E9-EB34-3F6A509ABE4D}"/>
              </a:ext>
            </a:extLst>
          </p:cNvPr>
          <p:cNvSpPr txBox="1"/>
          <p:nvPr/>
        </p:nvSpPr>
        <p:spPr>
          <a:xfrm>
            <a:off x="289827" y="886236"/>
            <a:ext cx="4315628" cy="387029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bIns="0" rtlCol="0">
            <a:spAutoFit/>
          </a:bodyPr>
          <a:lstStyle/>
          <a:p>
            <a:pPr indent="-326250" defTabSz="129150"/>
            <a:r>
              <a:rPr lang="es-ES" sz="1200" b="1" dirty="0" err="1"/>
              <a:t>Semester</a:t>
            </a:r>
            <a:r>
              <a:rPr lang="es-ES" sz="1200" b="1" dirty="0"/>
              <a:t> </a:t>
            </a:r>
            <a:r>
              <a:rPr lang="es-ES" sz="1200" b="1" dirty="0" err="1"/>
              <a:t>Progress</a:t>
            </a:r>
            <a:r>
              <a:rPr lang="es-ES" sz="1200" b="1" dirty="0"/>
              <a:t>:</a:t>
            </a:r>
            <a:endParaRPr lang="en-GB" sz="1200" b="1" dirty="0"/>
          </a:p>
          <a:p>
            <a:pPr marL="302400" lvl="1" indent="-171450" defTabSz="129150">
              <a:buFont typeface="Arial" panose="020B0604020202020204" pitchFamily="34" charset="0"/>
              <a:buChar char="•"/>
            </a:pPr>
            <a:r>
              <a:rPr lang="en-GB" sz="1200" b="1" dirty="0"/>
              <a:t>Conductivity sensor analogue circuit research </a:t>
            </a:r>
            <a:r>
              <a:rPr lang="en-GB" sz="1200" dirty="0"/>
              <a:t>was completed, however, no circuits based on that research were built.</a:t>
            </a:r>
          </a:p>
          <a:p>
            <a:pPr marL="302400" lvl="1" indent="-171450" defTabSz="129150">
              <a:buFont typeface="Arial" panose="020B0604020202020204" pitchFamily="34" charset="0"/>
              <a:buChar char="•"/>
            </a:pPr>
            <a:r>
              <a:rPr lang="en-GB" sz="1200" dirty="0"/>
              <a:t>Wrote more </a:t>
            </a:r>
            <a:r>
              <a:rPr lang="en-GB" sz="1200" b="1" dirty="0"/>
              <a:t>firmware</a:t>
            </a:r>
            <a:r>
              <a:rPr lang="en-GB" sz="1200" dirty="0"/>
              <a:t> for the Oasis Development Kit</a:t>
            </a:r>
          </a:p>
          <a:p>
            <a:pPr marL="302400" lvl="1" indent="-171450" defTabSz="129150">
              <a:buFont typeface="Arial" panose="020B0604020202020204" pitchFamily="34" charset="0"/>
              <a:buChar char="•"/>
            </a:pPr>
            <a:r>
              <a:rPr lang="en-GB" sz="1200" dirty="0"/>
              <a:t>Brainstormed</a:t>
            </a:r>
            <a:r>
              <a:rPr lang="en-GB" sz="1200" b="1" dirty="0"/>
              <a:t> </a:t>
            </a:r>
            <a:r>
              <a:rPr lang="en-GB" sz="1200" dirty="0"/>
              <a:t>the</a:t>
            </a:r>
            <a:r>
              <a:rPr lang="en-GB" sz="1200" b="1" dirty="0"/>
              <a:t> chassis and flow loop </a:t>
            </a:r>
            <a:r>
              <a:rPr lang="en-GB" sz="1200" dirty="0"/>
              <a:t>for the Saline Supernova but nothing physical could be created.</a:t>
            </a:r>
          </a:p>
          <a:p>
            <a:pPr marL="302400" lvl="1" indent="-171450" defTabSz="129150">
              <a:buFont typeface="Arial" panose="020B0604020202020204" pitchFamily="34" charset="0"/>
              <a:buChar char="•"/>
            </a:pPr>
            <a:r>
              <a:rPr lang="en-GB" sz="1200" dirty="0"/>
              <a:t>Completed more </a:t>
            </a:r>
            <a:r>
              <a:rPr lang="en-GB" sz="1200" b="1" dirty="0"/>
              <a:t>research for the Energy Recovery Device </a:t>
            </a:r>
            <a:r>
              <a:rPr lang="en-GB" sz="1200" dirty="0"/>
              <a:t>for the Saline Supernova. </a:t>
            </a:r>
          </a:p>
          <a:p>
            <a:pPr marL="302400" lvl="1" indent="-171450" defTabSz="129150">
              <a:buFont typeface="Arial" panose="020B0604020202020204" pitchFamily="34" charset="0"/>
              <a:buChar char="•"/>
            </a:pPr>
            <a:r>
              <a:rPr lang="en-GB" sz="1200" dirty="0"/>
              <a:t>Made a </a:t>
            </a:r>
            <a:r>
              <a:rPr lang="en-GB" sz="1200" b="1" dirty="0"/>
              <a:t>protective box </a:t>
            </a:r>
            <a:r>
              <a:rPr lang="en-GB" sz="1200" dirty="0"/>
              <a:t>for the Oasis Development Kit for safer storage</a:t>
            </a:r>
          </a:p>
          <a:p>
            <a:pPr indent="-326250" defTabSz="129150"/>
            <a:r>
              <a:rPr lang="es-ES" sz="1200" b="1" dirty="0"/>
              <a:t>Next </a:t>
            </a:r>
            <a:r>
              <a:rPr lang="es-ES" sz="1200" b="1" dirty="0" err="1"/>
              <a:t>semester</a:t>
            </a:r>
            <a:r>
              <a:rPr lang="es-ES" sz="1200" b="1" dirty="0"/>
              <a:t> </a:t>
            </a:r>
            <a:r>
              <a:rPr lang="es-ES" sz="1200" b="1" dirty="0" err="1"/>
              <a:t>goals</a:t>
            </a:r>
            <a:r>
              <a:rPr lang="es-ES" sz="1200" b="1" dirty="0"/>
              <a:t>:</a:t>
            </a:r>
          </a:p>
          <a:p>
            <a:pPr marL="279450" lvl="1" indent="-171450" defTabSz="129150">
              <a:buFont typeface="Arial" panose="020B0604020202020204" pitchFamily="34" charset="0"/>
              <a:buChar char="•"/>
            </a:pPr>
            <a:r>
              <a:rPr lang="es-ES" sz="1200" dirty="0"/>
              <a:t>Manufacture and test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updated</a:t>
            </a:r>
            <a:r>
              <a:rPr lang="es-ES" sz="1200" dirty="0"/>
              <a:t> </a:t>
            </a:r>
            <a:r>
              <a:rPr lang="es-ES" sz="1200" dirty="0" err="1"/>
              <a:t>design</a:t>
            </a:r>
            <a:r>
              <a:rPr lang="es-ES" sz="1200" dirty="0"/>
              <a:t>.</a:t>
            </a:r>
          </a:p>
          <a:p>
            <a:pPr marL="279450" lvl="1" indent="-171450" defTabSz="129150">
              <a:buFont typeface="Arial" panose="020B0604020202020204" pitchFamily="34" charset="0"/>
              <a:buChar char="•"/>
            </a:pPr>
            <a:r>
              <a:rPr lang="es-ES" sz="1200" dirty="0" err="1"/>
              <a:t>Research</a:t>
            </a:r>
            <a:r>
              <a:rPr lang="es-ES" sz="1200" dirty="0"/>
              <a:t> and </a:t>
            </a:r>
            <a:r>
              <a:rPr lang="es-ES" sz="1200" dirty="0" err="1"/>
              <a:t>integrate</a:t>
            </a:r>
            <a:r>
              <a:rPr lang="es-ES" sz="1200" dirty="0"/>
              <a:t> </a:t>
            </a:r>
            <a:r>
              <a:rPr lang="es-ES" sz="1200" b="1" dirty="0"/>
              <a:t>UV </a:t>
            </a:r>
            <a:r>
              <a:rPr lang="es-ES" sz="1200" b="1" dirty="0" err="1"/>
              <a:t>disinfection</a:t>
            </a:r>
            <a:r>
              <a:rPr lang="es-ES" sz="1200" b="1" dirty="0"/>
              <a:t> </a:t>
            </a:r>
            <a:r>
              <a:rPr lang="es-ES" sz="1200" b="1" dirty="0" err="1"/>
              <a:t>tubes</a:t>
            </a:r>
            <a:r>
              <a:rPr lang="es-ES" sz="1200" dirty="0"/>
              <a:t> </a:t>
            </a:r>
          </a:p>
          <a:p>
            <a:pPr indent="-349200" defTabSz="129150">
              <a:spcAft>
                <a:spcPts val="300"/>
              </a:spcAft>
            </a:pPr>
            <a:r>
              <a:rPr lang="es-ES" sz="1200" b="1" dirty="0" err="1"/>
              <a:t>Challenges</a:t>
            </a:r>
            <a:r>
              <a:rPr lang="es-ES" sz="1200" dirty="0"/>
              <a:t>:</a:t>
            </a:r>
          </a:p>
          <a:p>
            <a:pPr marL="279450" lvl="1" indent="-171450" defTabSz="129150">
              <a:buFont typeface="Arial" panose="020B0604020202020204" pitchFamily="34" charset="0"/>
              <a:buChar char="•"/>
            </a:pP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b="1" dirty="0"/>
              <a:t>timeline</a:t>
            </a:r>
            <a:r>
              <a:rPr lang="es-ES" sz="1200" dirty="0"/>
              <a:t> for </a:t>
            </a:r>
            <a:r>
              <a:rPr lang="es-ES" sz="1200" dirty="0" err="1"/>
              <a:t>building</a:t>
            </a:r>
            <a:r>
              <a:rPr lang="es-ES" sz="1200" dirty="0"/>
              <a:t> and </a:t>
            </a:r>
            <a:r>
              <a:rPr lang="es-ES" sz="1200" dirty="0" err="1"/>
              <a:t>testing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prototype</a:t>
            </a:r>
            <a:r>
              <a:rPr lang="es-ES" sz="1200" dirty="0"/>
              <a:t> </a:t>
            </a:r>
            <a:r>
              <a:rPr lang="es-ES" sz="1200" dirty="0" err="1"/>
              <a:t>remains</a:t>
            </a:r>
            <a:r>
              <a:rPr lang="es-ES" sz="1200" dirty="0"/>
              <a:t> </a:t>
            </a:r>
            <a:r>
              <a:rPr lang="es-ES" sz="1200" b="1" dirty="0" err="1"/>
              <a:t>unclear</a:t>
            </a:r>
            <a:r>
              <a:rPr lang="es-ES" sz="1200" dirty="0"/>
              <a:t> </a:t>
            </a:r>
            <a:r>
              <a:rPr lang="es-ES" sz="1200" dirty="0" err="1"/>
              <a:t>with</a:t>
            </a:r>
            <a:r>
              <a:rPr lang="es-ES" sz="1200" dirty="0"/>
              <a:t> </a:t>
            </a:r>
            <a:r>
              <a:rPr lang="es-ES" sz="1200" dirty="0" err="1"/>
              <a:t>difficulties</a:t>
            </a:r>
            <a:r>
              <a:rPr lang="es-ES" sz="1200" dirty="0"/>
              <a:t> in training </a:t>
            </a:r>
            <a:r>
              <a:rPr lang="es-ES" sz="1200" dirty="0" err="1"/>
              <a:t>people</a:t>
            </a:r>
            <a:r>
              <a:rPr lang="es-ES" sz="1200" dirty="0"/>
              <a:t> </a:t>
            </a:r>
            <a:r>
              <a:rPr lang="es-ES" sz="1200" dirty="0" err="1"/>
              <a:t>every</a:t>
            </a:r>
            <a:r>
              <a:rPr lang="es-ES" sz="1200" dirty="0"/>
              <a:t> </a:t>
            </a:r>
            <a:r>
              <a:rPr lang="es-ES" sz="1200" dirty="0" err="1"/>
              <a:t>semester</a:t>
            </a:r>
            <a:r>
              <a:rPr lang="es-ES" sz="1200" dirty="0"/>
              <a:t> </a:t>
            </a:r>
            <a:r>
              <a:rPr lang="es-ES" sz="1200" dirty="0" err="1"/>
              <a:t>hindering</a:t>
            </a:r>
            <a:r>
              <a:rPr lang="es-ES" sz="1200" dirty="0"/>
              <a:t> </a:t>
            </a:r>
            <a:r>
              <a:rPr lang="es-ES" sz="1200" dirty="0" err="1"/>
              <a:t>progress</a:t>
            </a:r>
            <a:endParaRPr lang="es-ES" sz="1200" dirty="0"/>
          </a:p>
          <a:p>
            <a:pPr marL="279450" lvl="1" indent="-171450" defTabSz="129150">
              <a:buFont typeface="Arial" panose="020B0604020202020204" pitchFamily="34" charset="0"/>
              <a:buChar char="•"/>
            </a:pPr>
            <a:endParaRPr lang="es-ES" sz="1000" dirty="0"/>
          </a:p>
          <a:p>
            <a:pPr marL="279450" lvl="1" indent="-171450" defTabSz="129150">
              <a:buFont typeface="Arial" panose="020B0604020202020204" pitchFamily="34" charset="0"/>
              <a:buChar char="•"/>
            </a:pPr>
            <a:endParaRPr lang="es-ES" sz="1000" dirty="0"/>
          </a:p>
          <a:p>
            <a:pPr marL="279450" lvl="1" indent="-171450" defTabSz="1291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099C36A-CAF2-8D3B-D4AF-456C227A861B}"/>
              </a:ext>
            </a:extLst>
          </p:cNvPr>
          <p:cNvSpPr txBox="1"/>
          <p:nvPr/>
        </p:nvSpPr>
        <p:spPr>
          <a:xfrm>
            <a:off x="7521605" y="4568660"/>
            <a:ext cx="4453483" cy="2200602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200" b="1" dirty="0" err="1"/>
              <a:t>Potential</a:t>
            </a:r>
            <a:r>
              <a:rPr lang="es-ES" sz="1200" b="1" dirty="0"/>
              <a:t> </a:t>
            </a:r>
            <a:r>
              <a:rPr lang="es-ES" sz="1200" b="1" dirty="0" err="1"/>
              <a:t>field</a:t>
            </a:r>
            <a:r>
              <a:rPr lang="es-ES" sz="1200" b="1" dirty="0"/>
              <a:t> </a:t>
            </a:r>
            <a:r>
              <a:rPr lang="es-ES" sz="1200" b="1" dirty="0" err="1"/>
              <a:t>testing</a:t>
            </a:r>
            <a:r>
              <a:rPr lang="es-ES" sz="1200" b="1" dirty="0"/>
              <a:t> </a:t>
            </a:r>
            <a:r>
              <a:rPr lang="es-ES" sz="1200" b="1" dirty="0" err="1"/>
              <a:t>visits</a:t>
            </a:r>
            <a:r>
              <a:rPr lang="es-ES" sz="1200" dirty="0"/>
              <a:t>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200" dirty="0" err="1"/>
              <a:t>Initiating</a:t>
            </a:r>
            <a:r>
              <a:rPr lang="es-ES" sz="1200" dirty="0"/>
              <a:t> </a:t>
            </a:r>
            <a:r>
              <a:rPr lang="es-ES" sz="1200" dirty="0" err="1"/>
              <a:t>plans</a:t>
            </a:r>
            <a:r>
              <a:rPr lang="es-ES" sz="1200" dirty="0"/>
              <a:t> for a </a:t>
            </a:r>
            <a:r>
              <a:rPr lang="es-ES" sz="1200" dirty="0" err="1"/>
              <a:t>possible</a:t>
            </a:r>
            <a:r>
              <a:rPr lang="es-ES" sz="1200" dirty="0"/>
              <a:t> </a:t>
            </a:r>
            <a:r>
              <a:rPr lang="es-ES" sz="1200" dirty="0" err="1"/>
              <a:t>field</a:t>
            </a:r>
            <a:r>
              <a:rPr lang="es-ES" sz="1200" dirty="0"/>
              <a:t> </a:t>
            </a:r>
            <a:r>
              <a:rPr lang="es-ES" sz="1200" dirty="0" err="1"/>
              <a:t>visit</a:t>
            </a:r>
            <a:r>
              <a:rPr lang="es-ES" sz="1200" dirty="0"/>
              <a:t> </a:t>
            </a:r>
            <a:r>
              <a:rPr lang="es-ES" sz="1200" dirty="0" err="1"/>
              <a:t>to</a:t>
            </a:r>
            <a:r>
              <a:rPr lang="es-ES" sz="1200" dirty="0"/>
              <a:t> </a:t>
            </a:r>
            <a:r>
              <a:rPr lang="es-ES" sz="1200" b="1" dirty="0"/>
              <a:t>Bangladesh</a:t>
            </a:r>
            <a:r>
              <a:rPr lang="es-ES" sz="1200" dirty="0"/>
              <a:t> at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b="1" dirty="0" err="1"/>
              <a:t>Asian</a:t>
            </a:r>
            <a:r>
              <a:rPr lang="es-ES" sz="1200" b="1" dirty="0"/>
              <a:t> University for </a:t>
            </a:r>
            <a:r>
              <a:rPr lang="es-ES" sz="1200" b="1" dirty="0" err="1"/>
              <a:t>Women</a:t>
            </a:r>
            <a:endParaRPr lang="es-ES" sz="1200" b="1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200" dirty="0" err="1"/>
              <a:t>Created</a:t>
            </a:r>
            <a:r>
              <a:rPr lang="es-ES" sz="1200" dirty="0"/>
              <a:t> </a:t>
            </a:r>
            <a:r>
              <a:rPr lang="es-ES" sz="1200" b="1" dirty="0"/>
              <a:t>3 workshop</a:t>
            </a:r>
            <a:r>
              <a:rPr lang="es-ES" sz="1200" dirty="0"/>
              <a:t> </a:t>
            </a:r>
            <a:r>
              <a:rPr lang="es-ES" sz="1200" dirty="0" err="1"/>
              <a:t>plans</a:t>
            </a:r>
            <a:r>
              <a:rPr lang="es-ES" sz="1200" dirty="0"/>
              <a:t> and </a:t>
            </a:r>
            <a:r>
              <a:rPr lang="es-ES" sz="1200" dirty="0" err="1"/>
              <a:t>an</a:t>
            </a:r>
            <a:r>
              <a:rPr lang="es-ES" sz="1200" dirty="0"/>
              <a:t> </a:t>
            </a:r>
            <a:r>
              <a:rPr lang="es-ES" sz="1200" dirty="0" err="1"/>
              <a:t>overall</a:t>
            </a:r>
            <a:r>
              <a:rPr lang="es-ES" sz="1200" dirty="0"/>
              <a:t> timeline for a </a:t>
            </a:r>
            <a:r>
              <a:rPr lang="es-ES" sz="1200" dirty="0" err="1"/>
              <a:t>five-day</a:t>
            </a:r>
            <a:r>
              <a:rPr lang="es-ES" sz="1200" dirty="0"/>
              <a:t> </a:t>
            </a:r>
            <a:r>
              <a:rPr lang="es-ES" sz="1200" dirty="0" err="1"/>
              <a:t>fully</a:t>
            </a:r>
            <a:r>
              <a:rPr lang="es-ES" sz="1200" dirty="0"/>
              <a:t> </a:t>
            </a:r>
            <a:r>
              <a:rPr lang="es-ES" sz="1200" dirty="0" err="1"/>
              <a:t>funded</a:t>
            </a:r>
            <a:r>
              <a:rPr lang="es-ES" sz="1200" dirty="0"/>
              <a:t> </a:t>
            </a:r>
            <a:r>
              <a:rPr lang="es-ES" sz="1200" dirty="0" err="1"/>
              <a:t>trip</a:t>
            </a:r>
            <a:r>
              <a:rPr lang="es-ES" sz="1200" dirty="0"/>
              <a:t> </a:t>
            </a:r>
            <a:r>
              <a:rPr lang="es-ES" sz="1200" dirty="0" err="1"/>
              <a:t>with</a:t>
            </a:r>
            <a:r>
              <a:rPr lang="es-ES" sz="1200" dirty="0"/>
              <a:t> </a:t>
            </a:r>
            <a:r>
              <a:rPr lang="es-ES" sz="1200" dirty="0" err="1"/>
              <a:t>selected</a:t>
            </a:r>
            <a:r>
              <a:rPr lang="es-ES" sz="1200" dirty="0"/>
              <a:t> </a:t>
            </a:r>
            <a:r>
              <a:rPr lang="es-ES" sz="1200" dirty="0" err="1"/>
              <a:t>members</a:t>
            </a:r>
            <a:endParaRPr lang="es-ES" sz="1200" dirty="0"/>
          </a:p>
          <a:p>
            <a:r>
              <a:rPr lang="es-ES" sz="1200" b="1" dirty="0" err="1"/>
              <a:t>Industry</a:t>
            </a:r>
            <a:r>
              <a:rPr lang="es-ES" sz="1200" b="1" dirty="0"/>
              <a:t> </a:t>
            </a:r>
            <a:r>
              <a:rPr lang="es-ES" sz="1200" b="1" dirty="0" err="1"/>
              <a:t>engagement</a:t>
            </a:r>
            <a:r>
              <a:rPr lang="es-ES" sz="1200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>
                <a:ea typeface="+mn-lt"/>
                <a:cs typeface="+mn-lt"/>
              </a:rPr>
              <a:t>Obtaineda</a:t>
            </a:r>
            <a:r>
              <a:rPr lang="es-ES" sz="1200" dirty="0">
                <a:ea typeface="+mn-lt"/>
                <a:cs typeface="+mn-lt"/>
              </a:rPr>
              <a:t>  </a:t>
            </a:r>
            <a:r>
              <a:rPr lang="es-ES" sz="1200" dirty="0" err="1">
                <a:ea typeface="+mn-lt"/>
                <a:cs typeface="+mn-lt"/>
              </a:rPr>
              <a:t>potential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b="1" dirty="0" err="1">
                <a:ea typeface="+mn-lt"/>
                <a:cs typeface="+mn-lt"/>
              </a:rPr>
              <a:t>segment</a:t>
            </a:r>
            <a:r>
              <a:rPr lang="es-ES" sz="1200" b="1" dirty="0">
                <a:ea typeface="+mn-lt"/>
                <a:cs typeface="+mn-lt"/>
              </a:rPr>
              <a:t> </a:t>
            </a:r>
            <a:r>
              <a:rPr lang="es-ES" sz="1200" dirty="0">
                <a:ea typeface="+mn-lt"/>
                <a:cs typeface="+mn-lt"/>
              </a:rPr>
              <a:t>in </a:t>
            </a:r>
            <a:r>
              <a:rPr lang="es-ES" sz="1200" dirty="0" err="1">
                <a:ea typeface="+mn-lt"/>
                <a:cs typeface="+mn-lt"/>
              </a:rPr>
              <a:t>the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b="1" dirty="0">
                <a:ea typeface="+mn-lt"/>
                <a:cs typeface="+mn-lt"/>
              </a:rPr>
              <a:t>WWEM </a:t>
            </a:r>
            <a:r>
              <a:rPr lang="es-ES" sz="1200" b="1" dirty="0" err="1">
                <a:ea typeface="+mn-lt"/>
                <a:cs typeface="+mn-lt"/>
              </a:rPr>
              <a:t>conference</a:t>
            </a:r>
            <a:r>
              <a:rPr lang="es-ES" sz="1200" b="1" dirty="0">
                <a:ea typeface="+mn-lt"/>
                <a:cs typeface="+mn-lt"/>
              </a:rPr>
              <a:t> </a:t>
            </a:r>
            <a:r>
              <a:rPr lang="es-ES" sz="1200" b="1" dirty="0" err="1">
                <a:ea typeface="+mn-lt"/>
                <a:cs typeface="+mn-lt"/>
              </a:rPr>
              <a:t>newsletter</a:t>
            </a:r>
            <a:r>
              <a:rPr lang="es-ES" sz="1200" b="1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to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increase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engagement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to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understand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techniques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from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industry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experts</a:t>
            </a:r>
            <a:r>
              <a:rPr lang="es-ES" sz="1200" dirty="0">
                <a:ea typeface="+mn-lt"/>
                <a:cs typeface="+mn-lt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>
                <a:ea typeface="+mn-lt"/>
                <a:cs typeface="+mn-lt"/>
              </a:rPr>
              <a:t>Starting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to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create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an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application</a:t>
            </a:r>
            <a:r>
              <a:rPr lang="es-ES" sz="1200" dirty="0">
                <a:ea typeface="+mn-lt"/>
                <a:cs typeface="+mn-lt"/>
              </a:rPr>
              <a:t> for </a:t>
            </a:r>
            <a:r>
              <a:rPr lang="es-ES" sz="1200" b="1" dirty="0" err="1">
                <a:ea typeface="+mn-lt"/>
                <a:cs typeface="+mn-lt"/>
              </a:rPr>
              <a:t>Prototypes</a:t>
            </a:r>
            <a:r>
              <a:rPr lang="es-ES" sz="1200" b="1" dirty="0">
                <a:ea typeface="+mn-lt"/>
                <a:cs typeface="+mn-lt"/>
              </a:rPr>
              <a:t> for </a:t>
            </a:r>
            <a:r>
              <a:rPr lang="es-ES" sz="1200" b="1" dirty="0" err="1">
                <a:ea typeface="+mn-lt"/>
                <a:cs typeface="+mn-lt"/>
              </a:rPr>
              <a:t>Humanity</a:t>
            </a:r>
            <a:endParaRPr lang="es-ES" sz="1200" b="1" dirty="0">
              <a:ea typeface="+mn-lt"/>
              <a:cs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>
                <a:ea typeface="+mn-lt"/>
                <a:cs typeface="+mn-lt"/>
              </a:rPr>
              <a:t>LEAF Training </a:t>
            </a:r>
            <a:r>
              <a:rPr lang="es-ES" sz="1200" dirty="0" err="1">
                <a:ea typeface="+mn-lt"/>
                <a:cs typeface="+mn-lt"/>
              </a:rPr>
              <a:t>completed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by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three</a:t>
            </a:r>
            <a:r>
              <a:rPr lang="es-ES" sz="1200" dirty="0">
                <a:ea typeface="+mn-lt"/>
                <a:cs typeface="+mn-lt"/>
              </a:rPr>
              <a:t> </a:t>
            </a:r>
            <a:r>
              <a:rPr lang="es-ES" sz="1200" dirty="0" err="1">
                <a:ea typeface="+mn-lt"/>
                <a:cs typeface="+mn-lt"/>
              </a:rPr>
              <a:t>members</a:t>
            </a:r>
            <a:endParaRPr lang="es-ES" sz="1200" dirty="0">
              <a:ea typeface="+mn-lt"/>
              <a:cs typeface="+mn-lt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3602EEF-D340-24EB-E63B-D62BEED8B1FF}"/>
              </a:ext>
            </a:extLst>
          </p:cNvPr>
          <p:cNvSpPr txBox="1"/>
          <p:nvPr/>
        </p:nvSpPr>
        <p:spPr>
          <a:xfrm>
            <a:off x="289826" y="4803872"/>
            <a:ext cx="4315626" cy="1985159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sz="1200" b="1" dirty="0" err="1"/>
              <a:t>External</a:t>
            </a:r>
            <a:r>
              <a:rPr lang="es-ES" sz="1200" b="1" dirty="0"/>
              <a:t> Funding </a:t>
            </a:r>
            <a:r>
              <a:rPr lang="es-ES" sz="1200" b="1" dirty="0" err="1"/>
              <a:t>Planning</a:t>
            </a:r>
            <a:r>
              <a:rPr lang="es-ES" sz="1200" dirty="0"/>
              <a:t>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200" dirty="0" err="1"/>
              <a:t>Currently</a:t>
            </a:r>
            <a:r>
              <a:rPr lang="es-ES" sz="1200" dirty="0"/>
              <a:t> </a:t>
            </a:r>
            <a:r>
              <a:rPr lang="es-ES" sz="1200" dirty="0" err="1"/>
              <a:t>identifying</a:t>
            </a:r>
            <a:r>
              <a:rPr lang="es-ES" sz="1200" dirty="0"/>
              <a:t> and </a:t>
            </a:r>
            <a:r>
              <a:rPr lang="es-ES" sz="1200" dirty="0" err="1"/>
              <a:t>preparing</a:t>
            </a:r>
            <a:r>
              <a:rPr lang="es-ES" sz="1200" dirty="0"/>
              <a:t> for </a:t>
            </a:r>
            <a:r>
              <a:rPr lang="es-ES" sz="1200" b="1" dirty="0" err="1"/>
              <a:t>external</a:t>
            </a:r>
            <a:r>
              <a:rPr lang="es-ES" sz="1200" b="1" dirty="0"/>
              <a:t> </a:t>
            </a:r>
            <a:r>
              <a:rPr lang="es-ES" sz="1200" b="1" dirty="0" err="1"/>
              <a:t>grant</a:t>
            </a:r>
            <a:r>
              <a:rPr lang="es-ES" sz="1200" b="1" dirty="0"/>
              <a:t> </a:t>
            </a:r>
            <a:r>
              <a:rPr lang="es-ES" sz="1200" b="1" dirty="0" err="1"/>
              <a:t>applications</a:t>
            </a:r>
            <a:r>
              <a:rPr lang="es-ES" sz="1200" dirty="0"/>
              <a:t> and </a:t>
            </a:r>
            <a:r>
              <a:rPr lang="es-ES" sz="1200" dirty="0" err="1"/>
              <a:t>other</a:t>
            </a:r>
            <a:r>
              <a:rPr lang="es-ES" sz="1200" dirty="0"/>
              <a:t> </a:t>
            </a:r>
            <a:r>
              <a:rPr lang="es-ES" sz="1200" dirty="0" err="1"/>
              <a:t>funding</a:t>
            </a:r>
            <a:r>
              <a:rPr lang="es-ES" sz="1200" dirty="0"/>
              <a:t> </a:t>
            </a:r>
            <a:r>
              <a:rPr lang="es-ES" sz="1200" dirty="0" err="1"/>
              <a:t>opportunities</a:t>
            </a:r>
            <a:r>
              <a:rPr lang="es-ES" sz="1200" dirty="0"/>
              <a:t> </a:t>
            </a:r>
            <a:r>
              <a:rPr lang="es-ES" sz="1200" dirty="0" err="1"/>
              <a:t>tailored</a:t>
            </a:r>
            <a:r>
              <a:rPr lang="es-ES" sz="1200" dirty="0"/>
              <a:t> </a:t>
            </a:r>
            <a:r>
              <a:rPr lang="es-ES" sz="1200" dirty="0" err="1"/>
              <a:t>to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team's</a:t>
            </a:r>
            <a:r>
              <a:rPr lang="es-ES" sz="1200" dirty="0"/>
              <a:t> </a:t>
            </a:r>
            <a:r>
              <a:rPr lang="es-ES" sz="1200" dirty="0" err="1"/>
              <a:t>needs</a:t>
            </a:r>
            <a:r>
              <a:rPr lang="es-ES" sz="1200" dirty="0"/>
              <a:t>.</a:t>
            </a:r>
            <a:endParaRPr lang="es-ES" sz="1200" b="1" dirty="0"/>
          </a:p>
          <a:p>
            <a:pPr>
              <a:spcAft>
                <a:spcPts val="300"/>
              </a:spcAft>
            </a:pPr>
            <a:r>
              <a:rPr lang="es-ES" sz="1200" b="1" dirty="0" err="1"/>
              <a:t>Fund</a:t>
            </a:r>
            <a:r>
              <a:rPr lang="es-ES" sz="1200" b="1" dirty="0"/>
              <a:t> </a:t>
            </a:r>
            <a:r>
              <a:rPr lang="es-ES" sz="1200" b="1" dirty="0" err="1"/>
              <a:t>Allocation</a:t>
            </a:r>
            <a:r>
              <a:rPr lang="es-ES" sz="1200" b="1" dirty="0"/>
              <a:t> and Management</a:t>
            </a:r>
            <a:r>
              <a:rPr lang="es-ES" sz="1200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/>
              <a:t>Bought</a:t>
            </a:r>
            <a:r>
              <a:rPr lang="es-ES" sz="1200" dirty="0"/>
              <a:t> </a:t>
            </a:r>
            <a:r>
              <a:rPr lang="es-ES" sz="1200" dirty="0" err="1"/>
              <a:t>amenities</a:t>
            </a:r>
            <a:r>
              <a:rPr lang="es-ES" sz="1200" dirty="0"/>
              <a:t> for </a:t>
            </a:r>
            <a:r>
              <a:rPr lang="es-ES" sz="1200" dirty="0" err="1"/>
              <a:t>the</a:t>
            </a:r>
            <a:r>
              <a:rPr lang="es-ES" sz="1200" dirty="0"/>
              <a:t> BWB </a:t>
            </a:r>
            <a:r>
              <a:rPr lang="es-ES" sz="1200" dirty="0" err="1"/>
              <a:t>room</a:t>
            </a:r>
            <a:r>
              <a:rPr lang="es-ES" sz="1200" dirty="0"/>
              <a:t> and </a:t>
            </a:r>
            <a:r>
              <a:rPr lang="es-ES" sz="1200" dirty="0" err="1"/>
              <a:t>secured</a:t>
            </a:r>
            <a:r>
              <a:rPr lang="es-ES" sz="1200" dirty="0"/>
              <a:t> </a:t>
            </a:r>
            <a:r>
              <a:rPr lang="es-ES" sz="1200" dirty="0" err="1"/>
              <a:t>equipment</a:t>
            </a:r>
            <a:r>
              <a:rPr lang="es-ES" sz="1200" dirty="0"/>
              <a:t> </a:t>
            </a:r>
            <a:r>
              <a:rPr lang="es-ES" sz="1200" dirty="0" err="1"/>
              <a:t>we</a:t>
            </a:r>
            <a:r>
              <a:rPr lang="es-ES" sz="1200" dirty="0"/>
              <a:t> </a:t>
            </a:r>
            <a:r>
              <a:rPr lang="es-ES" sz="1200" dirty="0" err="1"/>
              <a:t>may</a:t>
            </a:r>
            <a:r>
              <a:rPr lang="es-ES" sz="1200" dirty="0"/>
              <a:t> </a:t>
            </a:r>
            <a:r>
              <a:rPr lang="es-ES" sz="1200" dirty="0" err="1"/>
              <a:t>require</a:t>
            </a:r>
            <a:r>
              <a:rPr lang="es-ES" sz="1200" dirty="0"/>
              <a:t> in </a:t>
            </a:r>
            <a:r>
              <a:rPr lang="es-ES" sz="1200" dirty="0" err="1"/>
              <a:t>the</a:t>
            </a:r>
            <a:r>
              <a:rPr lang="es-ES" sz="1200"/>
              <a:t> future</a:t>
            </a:r>
            <a:endParaRPr lang="es-E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/>
              <a:t>Implemented</a:t>
            </a:r>
            <a:r>
              <a:rPr lang="es-ES" sz="1200" dirty="0"/>
              <a:t> a </a:t>
            </a:r>
            <a:r>
              <a:rPr lang="es-ES" sz="1200" b="1" dirty="0" err="1"/>
              <a:t>detailed</a:t>
            </a:r>
            <a:r>
              <a:rPr lang="es-ES" sz="1200" b="1" dirty="0"/>
              <a:t> </a:t>
            </a:r>
            <a:r>
              <a:rPr lang="es-ES" sz="1200" b="1" dirty="0" err="1"/>
              <a:t>component</a:t>
            </a:r>
            <a:r>
              <a:rPr lang="es-ES" sz="1200" b="1" dirty="0"/>
              <a:t> </a:t>
            </a:r>
            <a:r>
              <a:rPr lang="es-ES" sz="1200" b="1" dirty="0" err="1"/>
              <a:t>order</a:t>
            </a:r>
            <a:r>
              <a:rPr lang="es-ES" sz="1200" b="1" dirty="0"/>
              <a:t> </a:t>
            </a:r>
            <a:r>
              <a:rPr lang="es-ES" sz="1200" b="1" dirty="0" err="1"/>
              <a:t>sheet</a:t>
            </a:r>
            <a:r>
              <a:rPr lang="es-ES" sz="1200" dirty="0"/>
              <a:t> </a:t>
            </a:r>
            <a:r>
              <a:rPr lang="es-ES" sz="1200" dirty="0" err="1"/>
              <a:t>to</a:t>
            </a:r>
            <a:r>
              <a:rPr lang="es-ES" sz="1200" dirty="0"/>
              <a:t> </a:t>
            </a:r>
            <a:r>
              <a:rPr lang="es-ES" sz="1200" dirty="0" err="1"/>
              <a:t>formalise</a:t>
            </a:r>
            <a:r>
              <a:rPr lang="es-ES" sz="1200" dirty="0"/>
              <a:t> and </a:t>
            </a:r>
            <a:r>
              <a:rPr lang="es-ES" sz="1200" dirty="0" err="1"/>
              <a:t>track</a:t>
            </a:r>
            <a:r>
              <a:rPr lang="es-ES" sz="1200" dirty="0"/>
              <a:t> </a:t>
            </a:r>
            <a:r>
              <a:rPr lang="es-ES" sz="1200" dirty="0" err="1"/>
              <a:t>expenditures</a:t>
            </a:r>
            <a:r>
              <a:rPr lang="es-ES" sz="1200" dirty="0"/>
              <a:t> </a:t>
            </a:r>
            <a:r>
              <a:rPr lang="es-ES" sz="1200" dirty="0" err="1"/>
              <a:t>systematically</a:t>
            </a:r>
            <a:r>
              <a:rPr lang="es-ES" sz="1200" dirty="0"/>
              <a:t>.</a:t>
            </a:r>
          </a:p>
          <a:p>
            <a:pPr>
              <a:spcAft>
                <a:spcPts val="300"/>
              </a:spcAft>
            </a:pPr>
            <a:endParaRPr lang="es-ES" sz="1000" dirty="0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0216A197-BE73-6307-E24F-44DF51182AC3}"/>
              </a:ext>
            </a:extLst>
          </p:cNvPr>
          <p:cNvSpPr/>
          <p:nvPr/>
        </p:nvSpPr>
        <p:spPr>
          <a:xfrm>
            <a:off x="289827" y="4462282"/>
            <a:ext cx="4315627" cy="366813"/>
          </a:xfrm>
          <a:prstGeom prst="rect">
            <a:avLst/>
          </a:prstGeom>
          <a:solidFill>
            <a:srgbClr val="48B5C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Financ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7332C28F-57AA-FE95-2408-8FC263153BFA}"/>
              </a:ext>
            </a:extLst>
          </p:cNvPr>
          <p:cNvSpPr/>
          <p:nvPr/>
        </p:nvSpPr>
        <p:spPr>
          <a:xfrm>
            <a:off x="4656617" y="5298834"/>
            <a:ext cx="2813821" cy="366813"/>
          </a:xfrm>
          <a:prstGeom prst="rect">
            <a:avLst/>
          </a:prstGeom>
          <a:solidFill>
            <a:srgbClr val="48B5C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Sensors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9BF5A76-7975-60BC-BA48-7F58A0E84070}"/>
              </a:ext>
            </a:extLst>
          </p:cNvPr>
          <p:cNvSpPr txBox="1"/>
          <p:nvPr/>
        </p:nvSpPr>
        <p:spPr>
          <a:xfrm>
            <a:off x="4656617" y="5665647"/>
            <a:ext cx="2813822" cy="1123384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bIns="0" rtlCol="0">
            <a:spAutoFit/>
          </a:bodyPr>
          <a:lstStyle/>
          <a:p>
            <a:pPr algn="l"/>
            <a:r>
              <a:rPr lang="es-ES" sz="1200" b="1" i="0" u="none" strike="noStrike" dirty="0" err="1">
                <a:solidFill>
                  <a:srgbClr val="000000"/>
                </a:solidFill>
                <a:effectLst/>
              </a:rPr>
              <a:t>Onboarding</a:t>
            </a:r>
            <a:r>
              <a:rPr lang="es-ES" sz="1200" b="1" i="0" u="none" strike="noStrike" dirty="0">
                <a:solidFill>
                  <a:srgbClr val="000000"/>
                </a:solidFill>
                <a:effectLst/>
              </a:rPr>
              <a:t> New </a:t>
            </a:r>
            <a:r>
              <a:rPr lang="es-ES" sz="1200" b="1" i="0" u="none" strike="noStrike" dirty="0" err="1">
                <a:solidFill>
                  <a:srgbClr val="000000"/>
                </a:solidFill>
                <a:effectLst/>
              </a:rPr>
              <a:t>Members</a:t>
            </a:r>
            <a:r>
              <a:rPr lang="es-ES" sz="12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200" b="0" i="0" u="none" strike="noStrike" dirty="0" err="1">
                <a:solidFill>
                  <a:srgbClr val="000000"/>
                </a:solidFill>
                <a:effectLst/>
              </a:rPr>
              <a:t>Onboarded</a:t>
            </a:r>
            <a:r>
              <a:rPr lang="es-ES" sz="1200" b="0" i="0" u="none" strike="noStrike" dirty="0">
                <a:solidFill>
                  <a:srgbClr val="000000"/>
                </a:solidFill>
                <a:effectLst/>
              </a:rPr>
              <a:t> a new PhD </a:t>
            </a:r>
            <a:r>
              <a:rPr lang="es-ES" sz="1200" b="1" i="0" u="none" strike="noStrike" dirty="0" err="1">
                <a:solidFill>
                  <a:srgbClr val="000000"/>
                </a:solidFill>
                <a:effectLst/>
              </a:rPr>
              <a:t>Sensors</a:t>
            </a:r>
            <a:r>
              <a:rPr lang="es-ES" sz="1200" b="1" i="0" u="none" strike="noStrike" dirty="0">
                <a:solidFill>
                  <a:srgbClr val="000000"/>
                </a:solidFill>
                <a:effectLst/>
              </a:rPr>
              <a:t> lea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000000"/>
                </a:solidFill>
              </a:rPr>
              <a:t>Created</a:t>
            </a:r>
            <a:r>
              <a:rPr lang="es-ES" sz="1200" dirty="0">
                <a:solidFill>
                  <a:srgbClr val="000000"/>
                </a:solidFill>
              </a:rPr>
              <a:t> </a:t>
            </a:r>
            <a:r>
              <a:rPr lang="es-ES" sz="1200" b="1" dirty="0" err="1">
                <a:solidFill>
                  <a:srgbClr val="000000"/>
                </a:solidFill>
              </a:rPr>
              <a:t>two</a:t>
            </a:r>
            <a:r>
              <a:rPr lang="es-ES" sz="1200" b="1" dirty="0">
                <a:solidFill>
                  <a:srgbClr val="000000"/>
                </a:solidFill>
              </a:rPr>
              <a:t> </a:t>
            </a:r>
            <a:r>
              <a:rPr lang="es-ES" sz="1200" b="1" dirty="0" err="1">
                <a:solidFill>
                  <a:srgbClr val="000000"/>
                </a:solidFill>
              </a:rPr>
              <a:t>printed-circuit-board</a:t>
            </a:r>
            <a:r>
              <a:rPr lang="es-ES" sz="1200" b="1" dirty="0">
                <a:solidFill>
                  <a:srgbClr val="000000"/>
                </a:solidFill>
              </a:rPr>
              <a:t> </a:t>
            </a:r>
            <a:r>
              <a:rPr lang="es-ES" sz="1200" dirty="0" err="1">
                <a:solidFill>
                  <a:srgbClr val="000000"/>
                </a:solidFill>
              </a:rPr>
              <a:t>prototypes</a:t>
            </a:r>
            <a:r>
              <a:rPr lang="es-ES" sz="1200" dirty="0">
                <a:solidFill>
                  <a:srgbClr val="000000"/>
                </a:solidFill>
              </a:rPr>
              <a:t> for </a:t>
            </a:r>
            <a:r>
              <a:rPr lang="es-ES" sz="1200" dirty="0" err="1">
                <a:solidFill>
                  <a:srgbClr val="000000"/>
                </a:solidFill>
              </a:rPr>
              <a:t>the</a:t>
            </a:r>
            <a:r>
              <a:rPr lang="es-ES" sz="1200" dirty="0">
                <a:solidFill>
                  <a:srgbClr val="000000"/>
                </a:solidFill>
              </a:rPr>
              <a:t> pH Senso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200" b="0" i="0" u="none" strike="noStrike" dirty="0" err="1">
                <a:solidFill>
                  <a:srgbClr val="000000"/>
                </a:solidFill>
                <a:effectLst/>
              </a:rPr>
              <a:t>Completed</a:t>
            </a:r>
            <a:r>
              <a:rPr lang="es-ES" sz="1200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es-ES" sz="1200" b="1" i="0" u="none" strike="noStrike" dirty="0" err="1">
                <a:solidFill>
                  <a:srgbClr val="000000"/>
                </a:solidFill>
                <a:effectLst/>
              </a:rPr>
              <a:t>lab</a:t>
            </a:r>
            <a:r>
              <a:rPr lang="es-ES" sz="1200" b="1" i="0" u="none" strike="noStrike" dirty="0">
                <a:solidFill>
                  <a:srgbClr val="000000"/>
                </a:solidFill>
                <a:effectLst/>
              </a:rPr>
              <a:t> training</a:t>
            </a:r>
          </a:p>
          <a:p>
            <a:pPr algn="l"/>
            <a:endParaRPr lang="es-ES" sz="1000" b="0" i="0" u="none" strike="noStrike" dirty="0">
              <a:solidFill>
                <a:srgbClr val="000000"/>
              </a:solidFill>
              <a:effectLst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6A71C23-B856-368E-9286-5FFC49850D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231" t="14372" r="15273" b="15177"/>
          <a:stretch/>
        </p:blipFill>
        <p:spPr bwMode="auto">
          <a:xfrm rot="1026228">
            <a:off x="6583246" y="1479621"/>
            <a:ext cx="902723" cy="734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A person in a lab coat and gloves working in a laboratory&#10;&#10;AI-generated content may be incorrect.">
            <a:extLst>
              <a:ext uri="{FF2B5EF4-FFF2-40B4-BE49-F238E27FC236}">
                <a16:creationId xmlns:a16="http://schemas.microsoft.com/office/drawing/2014/main" id="{B3779745-5F90-64A1-6811-1E1EAD1E61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98" t="15174" r="20753" b="29585"/>
          <a:stretch/>
        </p:blipFill>
        <p:spPr>
          <a:xfrm>
            <a:off x="4656616" y="3408257"/>
            <a:ext cx="2813822" cy="1834475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7653905-07D8-9D51-8F83-BA3EB20E9A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9" t="17697" r="16613" b="39330"/>
          <a:stretch/>
        </p:blipFill>
        <p:spPr bwMode="auto">
          <a:xfrm>
            <a:off x="4605452" y="530518"/>
            <a:ext cx="2899315" cy="91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5B115EE2-53AA-DD34-9A79-76078718A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6696" b="92140" l="9934" r="89972">
                        <a14:foregroundMark x1="28193" y1="9607" x2="36802" y2="6841"/>
                        <a14:foregroundMark x1="36802" y1="6841" x2="32167" y2="9607"/>
                        <a14:foregroundMark x1="52223" y1="88937" x2="56954" y2="93886"/>
                        <a14:foregroundMark x1="56954" y1="93886" x2="63765" y2="94760"/>
                        <a14:foregroundMark x1="63765" y1="94760" x2="67756" y2="93110"/>
                        <a14:backgroundMark x1="67266" y1="94760" x2="71145" y2="90539"/>
                        <a14:backgroundMark x1="64522" y1="96215" x2="68401" y2="9301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8704">
            <a:off x="4473664" y="2535641"/>
            <a:ext cx="1347641" cy="875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6D0BAB4B-05BA-B252-5FEE-AF19AA00E582}"/>
              </a:ext>
            </a:extLst>
          </p:cNvPr>
          <p:cNvSpPr/>
          <p:nvPr/>
        </p:nvSpPr>
        <p:spPr>
          <a:xfrm>
            <a:off x="7506366" y="522636"/>
            <a:ext cx="4453483" cy="366813"/>
          </a:xfrm>
          <a:prstGeom prst="rect">
            <a:avLst/>
          </a:prstGeom>
          <a:solidFill>
            <a:srgbClr val="48B5C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Software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E355386-4DFC-2E13-0A66-4A660A9CEB49}"/>
              </a:ext>
            </a:extLst>
          </p:cNvPr>
          <p:cNvSpPr txBox="1"/>
          <p:nvPr/>
        </p:nvSpPr>
        <p:spPr>
          <a:xfrm>
            <a:off x="7506365" y="879617"/>
            <a:ext cx="4453483" cy="335476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sz="1200" b="1" dirty="0" err="1"/>
              <a:t>Pollutant</a:t>
            </a:r>
            <a:r>
              <a:rPr lang="es-ES" sz="1200" b="1" dirty="0"/>
              <a:t> </a:t>
            </a:r>
            <a:r>
              <a:rPr lang="es-ES" sz="1200" b="1" dirty="0" err="1"/>
              <a:t>Modelling</a:t>
            </a:r>
            <a:r>
              <a:rPr lang="es-ES" sz="1200" b="1" dirty="0"/>
              <a:t> Plan:</a:t>
            </a:r>
            <a:endParaRPr lang="es-E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err="1"/>
              <a:t>Researched</a:t>
            </a:r>
            <a:r>
              <a:rPr lang="es-ES" sz="1200" b="1" dirty="0"/>
              <a:t> </a:t>
            </a:r>
            <a:r>
              <a:rPr lang="es-ES" sz="1200" b="1" dirty="0" err="1"/>
              <a:t>regression</a:t>
            </a:r>
            <a:r>
              <a:rPr lang="es-ES" sz="1200" b="1" dirty="0"/>
              <a:t> </a:t>
            </a:r>
            <a:r>
              <a:rPr lang="es-ES" sz="1200" b="1" dirty="0" err="1"/>
              <a:t>modelling</a:t>
            </a:r>
            <a:r>
              <a:rPr lang="es-ES" sz="1200" b="1" dirty="0"/>
              <a:t> </a:t>
            </a:r>
            <a:r>
              <a:rPr lang="es-ES" sz="1200" dirty="0" err="1"/>
              <a:t>to</a:t>
            </a:r>
            <a:r>
              <a:rPr lang="es-ES" sz="1200" dirty="0"/>
              <a:t> determine </a:t>
            </a:r>
            <a:r>
              <a:rPr lang="es-ES" sz="1200" dirty="0" err="1"/>
              <a:t>what</a:t>
            </a:r>
            <a:r>
              <a:rPr lang="es-ES" sz="1200" dirty="0"/>
              <a:t> a </a:t>
            </a:r>
            <a:r>
              <a:rPr lang="es-ES" sz="1200" dirty="0" err="1"/>
              <a:t>combination</a:t>
            </a:r>
            <a:r>
              <a:rPr lang="es-ES" sz="1200" dirty="0"/>
              <a:t> of </a:t>
            </a:r>
            <a:r>
              <a:rPr lang="es-ES" sz="1200" dirty="0" err="1"/>
              <a:t>pollutants</a:t>
            </a:r>
            <a:r>
              <a:rPr lang="es-ES" sz="1200" dirty="0"/>
              <a:t> </a:t>
            </a:r>
            <a:r>
              <a:rPr lang="es-ES" sz="1200" dirty="0" err="1"/>
              <a:t>creates</a:t>
            </a:r>
            <a:r>
              <a:rPr lang="es-ES" sz="1200" dirty="0"/>
              <a:t> and </a:t>
            </a:r>
            <a:r>
              <a:rPr lang="es-ES" sz="1200" dirty="0" err="1"/>
              <a:t>where</a:t>
            </a:r>
            <a:r>
              <a:rPr lang="es-ES" sz="1200" dirty="0"/>
              <a:t> </a:t>
            </a:r>
            <a:r>
              <a:rPr lang="es-ES" sz="1200" dirty="0" err="1"/>
              <a:t>they</a:t>
            </a:r>
            <a:r>
              <a:rPr lang="es-ES" sz="1200" dirty="0"/>
              <a:t> </a:t>
            </a:r>
            <a:r>
              <a:rPr lang="es-ES" sz="1200" dirty="0" err="1"/>
              <a:t>originate</a:t>
            </a:r>
            <a:endParaRPr lang="es-E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/>
              <a:t>Evaluated</a:t>
            </a:r>
            <a:r>
              <a:rPr lang="es-ES" sz="1200" dirty="0"/>
              <a:t> </a:t>
            </a:r>
            <a:r>
              <a:rPr lang="es-ES" sz="1200" b="1" dirty="0" err="1"/>
              <a:t>different</a:t>
            </a:r>
            <a:r>
              <a:rPr lang="es-ES" sz="1200" b="1" dirty="0"/>
              <a:t> </a:t>
            </a:r>
            <a:r>
              <a:rPr lang="es-ES" sz="1200" b="1" dirty="0" err="1"/>
              <a:t>modelling</a:t>
            </a:r>
            <a:r>
              <a:rPr lang="es-ES" sz="1200" b="1" dirty="0"/>
              <a:t> </a:t>
            </a:r>
            <a:r>
              <a:rPr lang="es-ES" sz="1200" b="1" dirty="0" err="1"/>
              <a:t>tools</a:t>
            </a:r>
            <a:r>
              <a:rPr lang="es-ES" sz="1200" b="1" dirty="0"/>
              <a:t> </a:t>
            </a:r>
            <a:r>
              <a:rPr lang="es-ES" sz="1200" dirty="0"/>
              <a:t>(i.e. </a:t>
            </a:r>
            <a:r>
              <a:rPr lang="es-ES" sz="1200" dirty="0" err="1"/>
              <a:t>Water</a:t>
            </a:r>
            <a:r>
              <a:rPr lang="es-ES" sz="1200" dirty="0"/>
              <a:t> </a:t>
            </a:r>
            <a:r>
              <a:rPr lang="es-ES" sz="1200" dirty="0" err="1"/>
              <a:t>Quality</a:t>
            </a:r>
            <a:r>
              <a:rPr lang="es-ES" sz="1200" dirty="0"/>
              <a:t> </a:t>
            </a:r>
            <a:r>
              <a:rPr lang="es-ES" sz="1200" dirty="0" err="1"/>
              <a:t>Analysis</a:t>
            </a:r>
            <a:r>
              <a:rPr lang="es-ES" sz="1200" dirty="0"/>
              <a:t> </a:t>
            </a:r>
            <a:r>
              <a:rPr lang="es-ES" sz="1200" dirty="0" err="1"/>
              <a:t>Simulation</a:t>
            </a:r>
            <a:r>
              <a:rPr lang="es-ES" sz="1200" dirty="0"/>
              <a:t> </a:t>
            </a:r>
            <a:r>
              <a:rPr lang="es-ES" sz="1200" dirty="0" err="1"/>
              <a:t>Program</a:t>
            </a:r>
            <a:r>
              <a:rPr lang="es-ES" sz="1200" dirty="0"/>
              <a:t>, QUAL2K </a:t>
            </a:r>
            <a:r>
              <a:rPr lang="es-ES" sz="1200" dirty="0" err="1"/>
              <a:t>Water</a:t>
            </a:r>
            <a:r>
              <a:rPr lang="es-ES" sz="1200" dirty="0"/>
              <a:t> </a:t>
            </a:r>
            <a:r>
              <a:rPr lang="es-ES" sz="1200" dirty="0" err="1"/>
              <a:t>Quality</a:t>
            </a:r>
            <a:r>
              <a:rPr lang="es-ES" sz="1200" dirty="0"/>
              <a:t> </a:t>
            </a:r>
            <a:r>
              <a:rPr lang="es-ES" sz="1200" dirty="0" err="1"/>
              <a:t>Model</a:t>
            </a:r>
            <a:r>
              <a:rPr lang="es-ES" sz="1200" dirty="0"/>
              <a:t>, </a:t>
            </a:r>
            <a:r>
              <a:rPr lang="es-ES" sz="1200" dirty="0" err="1"/>
              <a:t>Soil</a:t>
            </a:r>
            <a:r>
              <a:rPr lang="es-ES" sz="1200" dirty="0"/>
              <a:t> and </a:t>
            </a:r>
            <a:r>
              <a:rPr lang="es-ES" sz="1200" dirty="0" err="1"/>
              <a:t>Water</a:t>
            </a:r>
            <a:r>
              <a:rPr lang="es-ES" sz="1200" dirty="0"/>
              <a:t> </a:t>
            </a:r>
            <a:r>
              <a:rPr lang="es-ES" sz="1200" dirty="0" err="1"/>
              <a:t>Assessment</a:t>
            </a:r>
            <a:r>
              <a:rPr lang="es-ES" sz="1200" dirty="0"/>
              <a:t> Tool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/>
              <a:t>Created</a:t>
            </a:r>
            <a:r>
              <a:rPr lang="es-ES" sz="1200" dirty="0"/>
              <a:t> a </a:t>
            </a:r>
            <a:r>
              <a:rPr lang="es-ES" sz="1200" dirty="0" err="1"/>
              <a:t>model</a:t>
            </a:r>
            <a:r>
              <a:rPr lang="es-ES" sz="1200" dirty="0"/>
              <a:t> </a:t>
            </a:r>
            <a:r>
              <a:rPr lang="es-ES" sz="1200" b="1" dirty="0" err="1"/>
              <a:t>overview</a:t>
            </a:r>
            <a:r>
              <a:rPr lang="es-ES" sz="1200" b="1" dirty="0"/>
              <a:t> for </a:t>
            </a:r>
            <a:r>
              <a:rPr lang="es-ES" sz="1200" b="1" dirty="0" err="1"/>
              <a:t>the</a:t>
            </a:r>
            <a:r>
              <a:rPr lang="es-ES" sz="1200" b="1" dirty="0"/>
              <a:t> W.O.R.M. </a:t>
            </a:r>
            <a:r>
              <a:rPr lang="es-ES" sz="1200" dirty="0"/>
              <a:t>(</a:t>
            </a:r>
            <a:r>
              <a:rPr lang="es-ES" sz="1200" dirty="0" err="1"/>
              <a:t>Water-pollutant</a:t>
            </a:r>
            <a:r>
              <a:rPr lang="es-ES" sz="1200" dirty="0"/>
              <a:t> </a:t>
            </a:r>
            <a:r>
              <a:rPr lang="es-ES" sz="1200" dirty="0" err="1"/>
              <a:t>Origin</a:t>
            </a:r>
            <a:r>
              <a:rPr lang="es-ES" sz="1200" dirty="0"/>
              <a:t> </a:t>
            </a:r>
            <a:r>
              <a:rPr lang="es-ES" sz="1200" dirty="0" err="1"/>
              <a:t>Regression</a:t>
            </a:r>
            <a:r>
              <a:rPr lang="es-ES" sz="1200" dirty="0"/>
              <a:t> </a:t>
            </a:r>
            <a:r>
              <a:rPr lang="es-ES" sz="1200" dirty="0" err="1"/>
              <a:t>Model</a:t>
            </a:r>
            <a:r>
              <a:rPr lang="es-ES" sz="1200" dirty="0"/>
              <a:t>)</a:t>
            </a:r>
          </a:p>
          <a:p>
            <a:endParaRPr lang="es-ES" sz="400" dirty="0"/>
          </a:p>
          <a:p>
            <a:r>
              <a:rPr lang="es-ES" sz="1200" b="1" dirty="0" err="1"/>
              <a:t>The</a:t>
            </a:r>
            <a:r>
              <a:rPr lang="es-ES" sz="1200" b="1" dirty="0"/>
              <a:t> W.O.R.M. </a:t>
            </a:r>
            <a:r>
              <a:rPr lang="es-ES" sz="1200" b="1" dirty="0" err="1"/>
              <a:t>Progress</a:t>
            </a:r>
            <a:r>
              <a:rPr lang="es-ES" sz="12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err="1"/>
              <a:t>River</a:t>
            </a:r>
            <a:r>
              <a:rPr lang="es-ES" sz="1200" b="1" dirty="0"/>
              <a:t> </a:t>
            </a:r>
            <a:r>
              <a:rPr lang="es-ES" sz="1200" b="1" dirty="0" err="1"/>
              <a:t>identification</a:t>
            </a:r>
            <a:r>
              <a:rPr lang="es-ES" sz="1200" b="1" dirty="0"/>
              <a:t> and </a:t>
            </a:r>
            <a:r>
              <a:rPr lang="es-ES" sz="1200" b="1" dirty="0" err="1"/>
              <a:t>source</a:t>
            </a:r>
            <a:r>
              <a:rPr lang="es-ES" sz="1200" b="1" dirty="0"/>
              <a:t> </a:t>
            </a:r>
            <a:r>
              <a:rPr lang="es-ES" sz="1200" b="1" dirty="0" err="1"/>
              <a:t>pollutant</a:t>
            </a:r>
            <a:r>
              <a:rPr lang="es-ES" sz="1200" b="1" dirty="0"/>
              <a:t> </a:t>
            </a:r>
            <a:r>
              <a:rPr lang="es-ES" sz="1200" b="1" dirty="0" err="1"/>
              <a:t>algorithm</a:t>
            </a:r>
            <a:r>
              <a:rPr lang="es-ES" sz="1200" b="1" dirty="0"/>
              <a:t> </a:t>
            </a:r>
            <a:r>
              <a:rPr lang="es-ES" sz="1200" dirty="0" err="1"/>
              <a:t>completed</a:t>
            </a:r>
            <a:r>
              <a:rPr lang="es-ES" sz="1200" dirty="0"/>
              <a:t> </a:t>
            </a:r>
            <a:r>
              <a:rPr lang="es-ES" sz="1200" dirty="0" err="1"/>
              <a:t>which</a:t>
            </a:r>
            <a:r>
              <a:rPr lang="es-ES" sz="1200" dirty="0"/>
              <a:t> </a:t>
            </a:r>
            <a:r>
              <a:rPr lang="es-ES" sz="1200" dirty="0" err="1"/>
              <a:t>allows</a:t>
            </a:r>
            <a:r>
              <a:rPr lang="es-ES" sz="1200" dirty="0"/>
              <a:t> </a:t>
            </a:r>
            <a:r>
              <a:rPr lang="es-ES" sz="1200" dirty="0" err="1"/>
              <a:t>us</a:t>
            </a:r>
            <a:r>
              <a:rPr lang="es-ES" sz="1200" dirty="0"/>
              <a:t> </a:t>
            </a:r>
            <a:r>
              <a:rPr lang="es-ES" sz="1200" dirty="0" err="1"/>
              <a:t>to</a:t>
            </a:r>
            <a:r>
              <a:rPr lang="es-ES" sz="1200" dirty="0"/>
              <a:t> </a:t>
            </a:r>
            <a:r>
              <a:rPr lang="es-ES" sz="1200" dirty="0" err="1"/>
              <a:t>predict</a:t>
            </a:r>
            <a:r>
              <a:rPr lang="es-ES" sz="1200" dirty="0"/>
              <a:t> </a:t>
            </a:r>
            <a:r>
              <a:rPr lang="es-ES" sz="1200" dirty="0" err="1"/>
              <a:t>type</a:t>
            </a:r>
            <a:r>
              <a:rPr lang="es-ES" sz="1200" dirty="0"/>
              <a:t> 1, 2, and 3 </a:t>
            </a:r>
            <a:r>
              <a:rPr lang="es-ES" sz="1200" dirty="0" err="1"/>
              <a:t>pollutions</a:t>
            </a:r>
            <a:r>
              <a:rPr lang="es-ES" sz="1200" dirty="0"/>
              <a:t> and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areas</a:t>
            </a:r>
            <a:r>
              <a:rPr lang="es-ES" sz="1200" dirty="0"/>
              <a:t> </a:t>
            </a:r>
            <a:r>
              <a:rPr lang="es-ES" sz="1200" dirty="0" err="1"/>
              <a:t>that</a:t>
            </a:r>
            <a:r>
              <a:rPr lang="es-ES" sz="1200" dirty="0"/>
              <a:t> </a:t>
            </a:r>
            <a:r>
              <a:rPr lang="es-ES" sz="1200" dirty="0" err="1"/>
              <a:t>they</a:t>
            </a:r>
            <a:r>
              <a:rPr lang="es-ES" sz="1200" dirty="0"/>
              <a:t> </a:t>
            </a:r>
            <a:r>
              <a:rPr lang="es-ES" sz="1200" dirty="0" err="1"/>
              <a:t>originate</a:t>
            </a:r>
            <a:r>
              <a:rPr lang="es-ES" sz="1200" dirty="0"/>
              <a:t> </a:t>
            </a:r>
            <a:r>
              <a:rPr lang="es-ES" sz="1200" dirty="0" err="1"/>
              <a:t>from</a:t>
            </a:r>
            <a:endParaRPr lang="es-ES" sz="1200" dirty="0"/>
          </a:p>
          <a:p>
            <a:endParaRPr lang="es-ES" sz="400" dirty="0"/>
          </a:p>
          <a:p>
            <a:r>
              <a:rPr lang="es-ES" sz="1200" b="1" dirty="0" err="1"/>
              <a:t>Satellite</a:t>
            </a:r>
            <a:r>
              <a:rPr lang="es-ES" sz="1200" b="1" dirty="0"/>
              <a:t> </a:t>
            </a:r>
            <a:r>
              <a:rPr lang="es-ES" sz="1200" b="1" dirty="0" err="1"/>
              <a:t>Imagery</a:t>
            </a:r>
            <a:r>
              <a:rPr lang="es-ES" sz="1200" b="1" dirty="0"/>
              <a:t> for </a:t>
            </a:r>
            <a:r>
              <a:rPr lang="es-ES" sz="1200" b="1" dirty="0" err="1"/>
              <a:t>Modelling</a:t>
            </a:r>
            <a:r>
              <a:rPr lang="es-ES" sz="1200" b="1" dirty="0"/>
              <a:t>:</a:t>
            </a:r>
            <a:endParaRPr lang="es-E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/>
              <a:t>Satellite</a:t>
            </a:r>
            <a:r>
              <a:rPr lang="es-ES" sz="1200" dirty="0"/>
              <a:t> </a:t>
            </a:r>
            <a:r>
              <a:rPr lang="es-ES" sz="1200" dirty="0" err="1"/>
              <a:t>photos</a:t>
            </a:r>
            <a:r>
              <a:rPr lang="es-ES" sz="1200" dirty="0"/>
              <a:t> can be </a:t>
            </a:r>
            <a:r>
              <a:rPr lang="es-ES" sz="1200" dirty="0" err="1"/>
              <a:t>used</a:t>
            </a:r>
            <a:r>
              <a:rPr lang="es-ES" sz="1200" dirty="0"/>
              <a:t> </a:t>
            </a:r>
            <a:r>
              <a:rPr lang="es-ES" sz="1200" dirty="0" err="1"/>
              <a:t>to</a:t>
            </a:r>
            <a:r>
              <a:rPr lang="es-ES" sz="1200" dirty="0"/>
              <a:t> </a:t>
            </a:r>
            <a:r>
              <a:rPr lang="es-ES" sz="1200" dirty="0" err="1"/>
              <a:t>understand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current</a:t>
            </a:r>
            <a:r>
              <a:rPr lang="es-ES" sz="1200" dirty="0"/>
              <a:t> </a:t>
            </a:r>
            <a:r>
              <a:rPr lang="es-ES" sz="1200" dirty="0" err="1"/>
              <a:t>shape</a:t>
            </a:r>
            <a:r>
              <a:rPr lang="es-ES" sz="1200" dirty="0"/>
              <a:t> and </a:t>
            </a:r>
            <a:r>
              <a:rPr lang="es-ES" sz="1200" dirty="0" err="1"/>
              <a:t>width</a:t>
            </a:r>
            <a:r>
              <a:rPr lang="es-ES" sz="1200" dirty="0"/>
              <a:t> of </a:t>
            </a:r>
            <a:r>
              <a:rPr lang="es-ES" sz="1200" dirty="0" err="1"/>
              <a:t>rivers</a:t>
            </a:r>
            <a:r>
              <a:rPr lang="es-ES" sz="1200" dirty="0"/>
              <a:t> </a:t>
            </a:r>
            <a:r>
              <a:rPr lang="es-ES" sz="1200" dirty="0" err="1"/>
              <a:t>which</a:t>
            </a:r>
            <a:r>
              <a:rPr lang="es-ES" sz="1200" dirty="0"/>
              <a:t> </a:t>
            </a:r>
            <a:r>
              <a:rPr lang="es-ES" sz="1200" dirty="0" err="1"/>
              <a:t>enables</a:t>
            </a:r>
            <a:r>
              <a:rPr lang="es-ES" sz="1200" dirty="0"/>
              <a:t> more </a:t>
            </a:r>
            <a:r>
              <a:rPr lang="es-ES" sz="1200" dirty="0" err="1"/>
              <a:t>accurate</a:t>
            </a:r>
            <a:r>
              <a:rPr lang="es-ES" sz="1200" dirty="0"/>
              <a:t> </a:t>
            </a:r>
            <a:r>
              <a:rPr lang="es-ES" sz="1200" dirty="0" err="1"/>
              <a:t>modelling</a:t>
            </a:r>
            <a:endParaRPr lang="es-E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 err="1"/>
              <a:t>Obtained</a:t>
            </a:r>
            <a:r>
              <a:rPr lang="es-ES" sz="1200" dirty="0"/>
              <a:t> </a:t>
            </a:r>
            <a:r>
              <a:rPr lang="es-ES" sz="1200" b="1" dirty="0" err="1"/>
              <a:t>funding</a:t>
            </a:r>
            <a:r>
              <a:rPr lang="es-ES" sz="1200" b="1" dirty="0"/>
              <a:t> </a:t>
            </a:r>
            <a:r>
              <a:rPr lang="es-ES" sz="1200" b="1" dirty="0" err="1"/>
              <a:t>from</a:t>
            </a:r>
            <a:r>
              <a:rPr lang="es-ES" sz="1200" b="1" dirty="0"/>
              <a:t> </a:t>
            </a:r>
            <a:r>
              <a:rPr lang="es-ES" sz="1200" b="1" dirty="0" err="1"/>
              <a:t>the</a:t>
            </a:r>
            <a:r>
              <a:rPr lang="es-ES" sz="1200" b="1" dirty="0"/>
              <a:t> </a:t>
            </a:r>
            <a:r>
              <a:rPr lang="es-ES" sz="1200" b="1" dirty="0" err="1"/>
              <a:t>European</a:t>
            </a:r>
            <a:r>
              <a:rPr lang="es-ES" sz="1200" b="1" dirty="0"/>
              <a:t> </a:t>
            </a:r>
            <a:r>
              <a:rPr lang="es-ES" sz="1200" b="1" dirty="0" err="1"/>
              <a:t>Space</a:t>
            </a:r>
            <a:r>
              <a:rPr lang="es-ES" sz="1200" b="1" dirty="0"/>
              <a:t> Agency </a:t>
            </a:r>
            <a:r>
              <a:rPr lang="es-ES" sz="1200" dirty="0"/>
              <a:t>and </a:t>
            </a:r>
            <a:r>
              <a:rPr lang="es-ES" sz="1200" dirty="0" err="1"/>
              <a:t>access</a:t>
            </a:r>
            <a:r>
              <a:rPr lang="es-ES" sz="1200" dirty="0"/>
              <a:t> </a:t>
            </a:r>
            <a:r>
              <a:rPr lang="es-ES" sz="1200" dirty="0" err="1"/>
              <a:t>to</a:t>
            </a:r>
            <a:r>
              <a:rPr lang="es-ES" sz="1200" dirty="0"/>
              <a:t> </a:t>
            </a:r>
            <a:r>
              <a:rPr lang="es-ES" sz="1200" dirty="0" err="1"/>
              <a:t>their</a:t>
            </a:r>
            <a:r>
              <a:rPr lang="es-ES" sz="1200" dirty="0"/>
              <a:t> Network of </a:t>
            </a:r>
            <a:r>
              <a:rPr lang="es-ES" sz="1200" dirty="0" err="1"/>
              <a:t>Resources</a:t>
            </a:r>
            <a:r>
              <a:rPr lang="es-ES" sz="1200" dirty="0"/>
              <a:t> for </a:t>
            </a:r>
            <a:r>
              <a:rPr lang="es-ES" sz="1200" dirty="0" err="1"/>
              <a:t>Satellite</a:t>
            </a:r>
            <a:r>
              <a:rPr lang="es-ES" sz="1200" dirty="0"/>
              <a:t> </a:t>
            </a:r>
            <a:r>
              <a:rPr lang="es-ES" sz="1200" dirty="0" err="1"/>
              <a:t>Imagery</a:t>
            </a:r>
            <a:endParaRPr lang="es-ES" sz="1200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73A44E1-68DA-683B-3551-85235983A5C3}"/>
              </a:ext>
            </a:extLst>
          </p:cNvPr>
          <p:cNvSpPr/>
          <p:nvPr/>
        </p:nvSpPr>
        <p:spPr>
          <a:xfrm>
            <a:off x="7506365" y="4216007"/>
            <a:ext cx="4458891" cy="366813"/>
          </a:xfrm>
          <a:prstGeom prst="rect">
            <a:avLst/>
          </a:prstGeom>
          <a:solidFill>
            <a:srgbClr val="48B5C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Outreach</a:t>
            </a:r>
          </a:p>
        </p:txBody>
      </p:sp>
    </p:spTree>
    <p:extLst>
      <p:ext uri="{BB962C8B-B14F-4D97-AF65-F5344CB8AC3E}">
        <p14:creationId xmlns:p14="http://schemas.microsoft.com/office/powerpoint/2010/main" val="1404419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A10F7760174046B412AB999BD2E8E0" ma:contentTypeVersion="17" ma:contentTypeDescription="Create a new document." ma:contentTypeScope="" ma:versionID="4bca7b5edfa9076295bc767a6e30e07c">
  <xsd:schema xmlns:xsd="http://www.w3.org/2001/XMLSchema" xmlns:xs="http://www.w3.org/2001/XMLSchema" xmlns:p="http://schemas.microsoft.com/office/2006/metadata/properties" xmlns:ns2="b31e59a2-3882-4d15-b1f0-20a41eb2e7bb" xmlns:ns3="b1e165a0-1a4a-4d2e-b26a-75de4c74afb8" targetNamespace="http://schemas.microsoft.com/office/2006/metadata/properties" ma:root="true" ma:fieldsID="a1298460008b2723f4469b55d75b6e11" ns2:_="" ns3:_="">
    <xsd:import namespace="b31e59a2-3882-4d15-b1f0-20a41eb2e7bb"/>
    <xsd:import namespace="b1e165a0-1a4a-4d2e-b26a-75de4c74af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1e59a2-3882-4d15-b1f0-20a41eb2e7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85693718-8356-48ba-866a-85db3a9efc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165a0-1a4a-4d2e-b26a-75de4c74afb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c86cc65-1bfc-482d-ac03-4d191023851d}" ma:internalName="TaxCatchAll" ma:showField="CatchAllData" ma:web="b1e165a0-1a4a-4d2e-b26a-75de4c74af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31e59a2-3882-4d15-b1f0-20a41eb2e7bb">
      <Terms xmlns="http://schemas.microsoft.com/office/infopath/2007/PartnerControls"/>
    </lcf76f155ced4ddcb4097134ff3c332f>
    <TaxCatchAll xmlns="b1e165a0-1a4a-4d2e-b26a-75de4c74afb8" xsi:nil="true"/>
  </documentManagement>
</p:properties>
</file>

<file path=customXml/itemProps1.xml><?xml version="1.0" encoding="utf-8"?>
<ds:datastoreItem xmlns:ds="http://schemas.openxmlformats.org/officeDocument/2006/customXml" ds:itemID="{15BB0508-8EC4-4AA6-ADF2-B745A93005EC}"/>
</file>

<file path=customXml/itemProps2.xml><?xml version="1.0" encoding="utf-8"?>
<ds:datastoreItem xmlns:ds="http://schemas.openxmlformats.org/officeDocument/2006/customXml" ds:itemID="{F665A1FF-F4EF-4CA9-8DD8-BE6F618113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C4C3E5-8622-4357-93B2-0D17C1307989}">
  <ds:schemaRefs>
    <ds:schemaRef ds:uri="http://purl.org/dc/dcmitype/"/>
    <ds:schemaRef ds:uri="eaa7ded7-35e1-455b-ab36-4841f90e35c9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c6eafc12-265e-4390-a4f9-99ef72c3bc8d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377e3d22-4ea1-422d-b0ad-8fcc89406b9e}" enabled="0" method="" siteId="{377e3d22-4ea1-422d-b0ad-8fcc89406b9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7</TotalTime>
  <Words>413</Words>
  <Application>Microsoft Office PowerPoint</Application>
  <PresentationFormat>Widescreen</PresentationFormat>
  <Paragraphs>46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Vrinda Piyushkumar Raninga</cp:lastModifiedBy>
  <cp:revision>3</cp:revision>
  <dcterms:created xsi:type="dcterms:W3CDTF">2024-12-07T14:53:39Z</dcterms:created>
  <dcterms:modified xsi:type="dcterms:W3CDTF">2025-05-27T19:0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A10F7760174046B412AB999BD2E8E0</vt:lpwstr>
  </property>
</Properties>
</file>